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4"/>
    <p:sldMasterId id="2147483706" r:id="rId5"/>
    <p:sldMasterId id="2147483719" r:id="rId6"/>
    <p:sldMasterId id="2147483724" r:id="rId7"/>
    <p:sldMasterId id="2147483729" r:id="rId8"/>
    <p:sldMasterId id="2147483734" r:id="rId9"/>
  </p:sldMasterIdLst>
  <p:notesMasterIdLst>
    <p:notesMasterId r:id="rId14"/>
  </p:notesMasterIdLst>
  <p:handoutMasterIdLst>
    <p:handoutMasterId r:id="rId15"/>
  </p:handoutMasterIdLst>
  <p:sldIdLst>
    <p:sldId id="8694" r:id="rId10"/>
    <p:sldId id="8741" r:id="rId11"/>
    <p:sldId id="8740" r:id="rId12"/>
    <p:sldId id="871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8" autoAdjust="0"/>
    <p:restoredTop sz="93697" autoAdjust="0"/>
  </p:normalViewPr>
  <p:slideViewPr>
    <p:cSldViewPr snapToGrid="0" showGuides="1">
      <p:cViewPr varScale="1">
        <p:scale>
          <a:sx n="42" d="100"/>
          <a:sy n="42" d="100"/>
        </p:scale>
        <p:origin x="75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39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13/01/2023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nr.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13/01/2023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909eb2c61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909eb2c61a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7791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IDA: Nye far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t>3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9002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 dirty="0" err="1"/>
              <a:t>Sub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8C88C4-F8C1-4BCA-91F5-34FE39C4A2ED}"/>
              </a:ext>
            </a:extLst>
          </p:cNvPr>
          <p:cNvSpPr/>
          <p:nvPr userDrawn="1"/>
        </p:nvSpPr>
        <p:spPr>
          <a:xfrm>
            <a:off x="333487" y="6411558"/>
            <a:ext cx="419548" cy="215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19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 dirty="0" err="1"/>
              <a:t>Sub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 dirty="0" err="1"/>
              <a:t>Sub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br>
              <a:rPr lang="da-DK" noProof="0" dirty="0"/>
            </a:br>
            <a:r>
              <a:rPr lang="da-DK" noProof="0" dirty="0"/>
              <a:t>Enter &amp; TAB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br>
              <a:rPr lang="da-DK" noProof="0" dirty="0"/>
            </a:br>
            <a:r>
              <a:rPr lang="da-DK" noProof="0" dirty="0"/>
              <a:t>SHIFT+TAB to go back in </a:t>
            </a:r>
            <a:r>
              <a:rPr lang="da-DK" noProof="0" dirty="0" err="1"/>
              <a:t>level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noProof="0" dirty="0" err="1"/>
              <a:t>using</a:t>
            </a:r>
            <a:r>
              <a:rPr lang="da-DK" noProof="0" dirty="0"/>
              <a:t> the </a:t>
            </a:r>
            <a:r>
              <a:rPr lang="da-DK" noProof="0" dirty="0" err="1"/>
              <a:t>Insert</a:t>
            </a:r>
            <a:r>
              <a:rPr lang="da-DK" noProof="0" dirty="0"/>
              <a:t> tab – Pictures or from </a:t>
            </a:r>
            <a:r>
              <a:rPr lang="da-DK" noProof="0" dirty="0" err="1"/>
              <a:t>Templafy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Breaker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Breaker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Breaker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dirty="0"/>
              <a:t>Mark placeholder to </a:t>
            </a:r>
            <a:r>
              <a:rPr lang="da-DK" dirty="0" err="1"/>
              <a:t>insert</a:t>
            </a:r>
            <a:r>
              <a:rPr lang="da-DK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Breaker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noProof="0" dirty="0" err="1"/>
              <a:t>title</a:t>
            </a:r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B59155-6798-4C81-A234-90459F630481}"/>
              </a:ext>
            </a:extLst>
          </p:cNvPr>
          <p:cNvSpPr/>
          <p:nvPr userDrawn="1"/>
        </p:nvSpPr>
        <p:spPr>
          <a:xfrm>
            <a:off x="342900" y="6388100"/>
            <a:ext cx="495300" cy="24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Name</a:t>
            </a:r>
            <a:r>
              <a:rPr lang="da-DK" dirty="0"/>
              <a:t> Last </a:t>
            </a:r>
            <a:r>
              <a:rPr lang="da-DK" dirty="0" err="1"/>
              <a:t>name</a:t>
            </a:r>
            <a:br>
              <a:rPr lang="da-DK" dirty="0"/>
            </a:br>
            <a:r>
              <a:rPr lang="da-DK" dirty="0"/>
              <a:t>Job </a:t>
            </a:r>
            <a:r>
              <a:rPr lang="da-DK" dirty="0" err="1"/>
              <a:t>title</a:t>
            </a:r>
            <a:r>
              <a:rPr lang="da-DK" dirty="0"/>
              <a:t>, Department</a:t>
            </a:r>
            <a:br>
              <a:rPr lang="da-DK" dirty="0"/>
            </a:br>
            <a:r>
              <a:rPr lang="da-DK" dirty="0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  <a:p>
            <a:endParaRPr lang="da-DK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 dirty="0" err="1"/>
              <a:t>Subtitle</a:t>
            </a:r>
            <a:endParaRPr lang="da-DK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 dirty="0" err="1"/>
              <a:t>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6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dirty="0"/>
              <a:t>Mark placeholder to </a:t>
            </a:r>
            <a:r>
              <a:rPr lang="da-DK" dirty="0" err="1"/>
              <a:t>insert</a:t>
            </a:r>
            <a:r>
              <a:rPr lang="da-DK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Name</a:t>
            </a:r>
            <a:r>
              <a:rPr lang="da-DK" dirty="0"/>
              <a:t> Last </a:t>
            </a:r>
            <a:r>
              <a:rPr lang="da-DK" dirty="0" err="1"/>
              <a:t>name</a:t>
            </a:r>
            <a:br>
              <a:rPr lang="da-DK" dirty="0"/>
            </a:br>
            <a:r>
              <a:rPr lang="da-DK" dirty="0"/>
              <a:t>Job </a:t>
            </a:r>
            <a:r>
              <a:rPr lang="da-DK" dirty="0" err="1"/>
              <a:t>title</a:t>
            </a:r>
            <a:r>
              <a:rPr lang="da-DK" dirty="0"/>
              <a:t>, Department</a:t>
            </a:r>
            <a:br>
              <a:rPr lang="da-DK" dirty="0"/>
            </a:br>
            <a:r>
              <a:rPr lang="da-DK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dirty="0"/>
              <a:t>Mark placeholder to </a:t>
            </a:r>
            <a:r>
              <a:rPr lang="da-DK" dirty="0" err="1"/>
              <a:t>insert</a:t>
            </a:r>
            <a:r>
              <a:rPr lang="da-DK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</a:t>
            </a:r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Name</a:t>
            </a:r>
            <a:r>
              <a:rPr lang="da-DK" dirty="0"/>
              <a:t> Last </a:t>
            </a:r>
            <a:r>
              <a:rPr lang="da-DK" dirty="0" err="1"/>
              <a:t>name</a:t>
            </a:r>
            <a:br>
              <a:rPr lang="da-DK" dirty="0"/>
            </a:br>
            <a:r>
              <a:rPr lang="da-DK" dirty="0"/>
              <a:t>Job </a:t>
            </a:r>
            <a:r>
              <a:rPr lang="da-DK" dirty="0" err="1"/>
              <a:t>title</a:t>
            </a:r>
            <a:r>
              <a:rPr lang="da-DK" dirty="0"/>
              <a:t>, Department</a:t>
            </a:r>
            <a:br>
              <a:rPr lang="da-DK" dirty="0"/>
            </a:br>
            <a:r>
              <a:rPr lang="da-DK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da-DK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da-DK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da-DK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da-DK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da-DK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da-DK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da-DK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da-DK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da-DK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da-DK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da-DK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da-DK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da-DK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da-DK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da-DK" sz="900" dirty="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</a:t>
            </a:r>
            <a:r>
              <a:rPr lang="da-DK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on the </a:t>
            </a:r>
            <a:r>
              <a:rPr lang="da-DK" sz="900" dirty="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arrow</a:t>
            </a:r>
            <a:r>
              <a:rPr lang="da-DK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</a:t>
            </a:r>
            <a:r>
              <a:rPr lang="da-DK" sz="900" dirty="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next</a:t>
            </a:r>
            <a:r>
              <a:rPr lang="da-DK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to </a:t>
            </a:r>
            <a:r>
              <a:rPr lang="da-DK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da-DK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</a:t>
            </a:r>
            <a:r>
              <a:rPr lang="da-DK" sz="900" dirty="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dropdown</a:t>
            </a:r>
            <a:r>
              <a:rPr lang="da-DK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menu of </a:t>
            </a:r>
            <a:r>
              <a:rPr lang="da-DK" sz="900" dirty="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possible</a:t>
            </a:r>
            <a:r>
              <a:rPr lang="da-DK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da-DK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 err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  <a:endParaRPr lang="da-DK" sz="1600" dirty="0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da-DK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000" b="0" noProof="0" dirty="0">
                <a:solidFill>
                  <a:schemeClr val="tx1"/>
                </a:solidFill>
              </a:rPr>
              <a:t>If </a:t>
            </a:r>
            <a:r>
              <a:rPr lang="da-DK" sz="4000" b="0" noProof="0" dirty="0" err="1">
                <a:solidFill>
                  <a:schemeClr val="tx1"/>
                </a:solidFill>
              </a:rPr>
              <a:t>you</a:t>
            </a:r>
            <a:r>
              <a:rPr lang="da-DK" sz="4000" b="0" noProof="0" dirty="0">
                <a:solidFill>
                  <a:schemeClr val="tx1"/>
                </a:solidFill>
              </a:rPr>
              <a:t> </a:t>
            </a:r>
            <a:r>
              <a:rPr lang="da-DK" sz="4000" b="0" noProof="0" dirty="0" err="1">
                <a:solidFill>
                  <a:schemeClr val="tx1"/>
                </a:solidFill>
              </a:rPr>
              <a:t>see</a:t>
            </a:r>
            <a:r>
              <a:rPr lang="da-DK" sz="4000" b="0" noProof="0" dirty="0">
                <a:solidFill>
                  <a:schemeClr val="tx1"/>
                </a:solidFill>
              </a:rPr>
              <a:t> </a:t>
            </a:r>
            <a:r>
              <a:rPr lang="da-DK" sz="4000" b="0" noProof="0" dirty="0" err="1">
                <a:solidFill>
                  <a:schemeClr val="tx1"/>
                </a:solidFill>
              </a:rPr>
              <a:t>any</a:t>
            </a:r>
            <a:r>
              <a:rPr lang="da-DK" sz="4000" b="0" noProof="0" dirty="0">
                <a:solidFill>
                  <a:schemeClr val="tx1"/>
                </a:solidFill>
              </a:rPr>
              <a:t> </a:t>
            </a:r>
            <a:r>
              <a:rPr lang="da-DK" sz="4000" b="1" i="1" noProof="0" dirty="0">
                <a:solidFill>
                  <a:schemeClr val="tx1"/>
                </a:solidFill>
              </a:rPr>
              <a:t>layouts </a:t>
            </a:r>
            <a:r>
              <a:rPr lang="da-DK" sz="4000" b="1" i="1" noProof="0" dirty="0" err="1">
                <a:solidFill>
                  <a:schemeClr val="tx1"/>
                </a:solidFill>
              </a:rPr>
              <a:t>after</a:t>
            </a:r>
            <a:r>
              <a:rPr lang="da-DK" sz="4000" b="1" i="1" noProof="0" dirty="0">
                <a:solidFill>
                  <a:schemeClr val="tx1"/>
                </a:solidFill>
              </a:rPr>
              <a:t> </a:t>
            </a:r>
            <a:r>
              <a:rPr lang="da-DK" sz="4000" b="1" i="1" noProof="0" dirty="0" err="1">
                <a:solidFill>
                  <a:schemeClr val="tx1"/>
                </a:solidFill>
              </a:rPr>
              <a:t>this</a:t>
            </a:r>
            <a:r>
              <a:rPr lang="da-DK" sz="4000" b="1" i="1" noProof="0" dirty="0">
                <a:solidFill>
                  <a:schemeClr val="tx1"/>
                </a:solidFill>
              </a:rPr>
              <a:t> </a:t>
            </a:r>
            <a:r>
              <a:rPr lang="da-DK" sz="4000" b="0" i="0" noProof="0" dirty="0">
                <a:solidFill>
                  <a:schemeClr val="tx1"/>
                </a:solidFill>
              </a:rPr>
              <a:t>one</a:t>
            </a:r>
            <a:r>
              <a:rPr lang="da-DK" sz="4000" b="1" i="1" noProof="0" dirty="0">
                <a:solidFill>
                  <a:schemeClr val="tx1"/>
                </a:solidFill>
              </a:rPr>
              <a:t>,</a:t>
            </a:r>
            <a:br>
              <a:rPr lang="da-DK" sz="4000" b="0" i="0" noProof="0" dirty="0">
                <a:solidFill>
                  <a:schemeClr val="tx1"/>
                </a:solidFill>
              </a:rPr>
            </a:br>
            <a:r>
              <a:rPr lang="da-DK" sz="4000" b="0" noProof="0" dirty="0">
                <a:solidFill>
                  <a:schemeClr val="tx1"/>
                </a:solidFill>
              </a:rPr>
              <a:t>do not </a:t>
            </a:r>
            <a:r>
              <a:rPr lang="da-DK" sz="4000" b="0" noProof="0" dirty="0" err="1">
                <a:solidFill>
                  <a:schemeClr val="tx1"/>
                </a:solidFill>
              </a:rPr>
              <a:t>use</a:t>
            </a:r>
            <a:r>
              <a:rPr lang="da-DK" sz="4000" b="0" noProof="0" dirty="0">
                <a:solidFill>
                  <a:schemeClr val="tx1"/>
                </a:solidFill>
              </a:rPr>
              <a:t> </a:t>
            </a:r>
            <a:r>
              <a:rPr lang="da-DK" sz="4000" b="0" noProof="0" dirty="0" err="1">
                <a:solidFill>
                  <a:schemeClr val="tx1"/>
                </a:solidFill>
              </a:rPr>
              <a:t>them</a:t>
            </a:r>
            <a:r>
              <a:rPr lang="da-DK" sz="4000" b="0" noProof="0" dirty="0">
                <a:solidFill>
                  <a:schemeClr val="tx1"/>
                </a:solidFill>
              </a:rPr>
              <a:t>. </a:t>
            </a:r>
            <a:r>
              <a:rPr lang="da-DK" sz="4000" b="0" noProof="0" dirty="0" err="1">
                <a:solidFill>
                  <a:schemeClr val="tx1"/>
                </a:solidFill>
              </a:rPr>
              <a:t>These</a:t>
            </a:r>
            <a:r>
              <a:rPr lang="da-DK" sz="4000" b="0" noProof="0" dirty="0">
                <a:solidFill>
                  <a:schemeClr val="tx1"/>
                </a:solidFill>
              </a:rPr>
              <a:t> layouts </a:t>
            </a:r>
            <a:r>
              <a:rPr lang="da-DK" sz="4000" b="1" i="1" u="none" noProof="0" dirty="0" err="1">
                <a:solidFill>
                  <a:schemeClr val="tx1"/>
                </a:solidFill>
              </a:rPr>
              <a:t>are</a:t>
            </a:r>
            <a:r>
              <a:rPr lang="da-DK" sz="4000" b="1" i="1" u="none" noProof="0" dirty="0">
                <a:solidFill>
                  <a:schemeClr val="tx1"/>
                </a:solidFill>
              </a:rPr>
              <a:t> not </a:t>
            </a:r>
            <a:r>
              <a:rPr lang="da-DK" sz="4000" b="0" noProof="0" dirty="0">
                <a:solidFill>
                  <a:schemeClr val="tx1"/>
                </a:solidFill>
              </a:rPr>
              <a:t>part of </a:t>
            </a:r>
            <a:r>
              <a:rPr lang="da-DK" sz="4000" b="0" noProof="0" dirty="0" err="1">
                <a:solidFill>
                  <a:schemeClr val="tx1"/>
                </a:solidFill>
              </a:rPr>
              <a:t>our</a:t>
            </a:r>
            <a:r>
              <a:rPr lang="da-DK" sz="4000" b="0" noProof="0" dirty="0">
                <a:solidFill>
                  <a:schemeClr val="tx1"/>
                </a:solidFill>
              </a:rPr>
              <a:t> </a:t>
            </a:r>
            <a:r>
              <a:rPr lang="da-DK" sz="4000" b="0" noProof="0" dirty="0" err="1">
                <a:solidFill>
                  <a:schemeClr val="tx1"/>
                </a:solidFill>
              </a:rPr>
              <a:t>corporate</a:t>
            </a:r>
            <a:r>
              <a:rPr lang="da-DK" sz="4000" b="0" noProof="0" dirty="0">
                <a:solidFill>
                  <a:schemeClr val="tx1"/>
                </a:solidFill>
              </a:rPr>
              <a:t> template.</a:t>
            </a:r>
            <a:endParaRPr lang="da-DK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1500" b="1" i="1" noProof="0" dirty="0">
                <a:solidFill>
                  <a:schemeClr val="tx1"/>
                </a:solidFill>
              </a:rPr>
              <a:t>Do not </a:t>
            </a:r>
            <a:r>
              <a:rPr lang="da-DK" sz="11500" b="1" i="1" noProof="0" dirty="0" err="1">
                <a:solidFill>
                  <a:schemeClr val="tx1"/>
                </a:solidFill>
              </a:rPr>
              <a:t>use</a:t>
            </a:r>
            <a:r>
              <a:rPr lang="da-DK" sz="11500" b="1" i="1" noProof="0" dirty="0">
                <a:solidFill>
                  <a:schemeClr val="tx1"/>
                </a:solidFill>
              </a:rPr>
              <a:t> </a:t>
            </a:r>
            <a:endParaRPr lang="da-DK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 dirty="0">
                <a:solidFill>
                  <a:schemeClr val="tx1"/>
                </a:solidFill>
              </a:rPr>
              <a:t>Due to </a:t>
            </a:r>
            <a:r>
              <a:rPr lang="da-DK" sz="1800" b="0" noProof="0" dirty="0" err="1">
                <a:solidFill>
                  <a:schemeClr val="tx1"/>
                </a:solidFill>
              </a:rPr>
              <a:t>PowerPoint’s</a:t>
            </a:r>
            <a:r>
              <a:rPr lang="da-DK" sz="1800" b="0" noProof="0" dirty="0">
                <a:solidFill>
                  <a:schemeClr val="tx1"/>
                </a:solidFill>
              </a:rPr>
              <a:t> standard </a:t>
            </a:r>
            <a:r>
              <a:rPr lang="da-DK" sz="1800" b="0" noProof="0" dirty="0" err="1">
                <a:solidFill>
                  <a:schemeClr val="tx1"/>
                </a:solidFill>
              </a:rPr>
              <a:t>Copy</a:t>
            </a:r>
            <a:r>
              <a:rPr lang="da-DK" sz="1800" b="0" noProof="0" dirty="0">
                <a:solidFill>
                  <a:schemeClr val="tx1"/>
                </a:solidFill>
              </a:rPr>
              <a:t>/</a:t>
            </a:r>
            <a:r>
              <a:rPr lang="da-DK" sz="1800" b="0" noProof="0" dirty="0" err="1">
                <a:solidFill>
                  <a:schemeClr val="tx1"/>
                </a:solidFill>
              </a:rPr>
              <a:t>Paste</a:t>
            </a:r>
            <a:r>
              <a:rPr lang="da-DK" sz="1800" b="0" noProof="0" dirty="0">
                <a:solidFill>
                  <a:schemeClr val="tx1"/>
                </a:solidFill>
              </a:rPr>
              <a:t> </a:t>
            </a:r>
            <a:r>
              <a:rPr lang="da-DK" sz="1800" b="0" noProof="0" dirty="0" err="1">
                <a:solidFill>
                  <a:schemeClr val="tx1"/>
                </a:solidFill>
              </a:rPr>
              <a:t>functionality</a:t>
            </a:r>
            <a:r>
              <a:rPr lang="da-DK" sz="1800" b="0" noProof="0" dirty="0">
                <a:solidFill>
                  <a:schemeClr val="tx1"/>
                </a:solidFill>
              </a:rPr>
              <a:t> extra </a:t>
            </a:r>
            <a:r>
              <a:rPr lang="da-DK" sz="1800" b="0" noProof="0" dirty="0" err="1">
                <a:solidFill>
                  <a:schemeClr val="tx1"/>
                </a:solidFill>
              </a:rPr>
              <a:t>undesirable</a:t>
            </a:r>
            <a:r>
              <a:rPr lang="da-DK" sz="1800" b="0" noProof="0" dirty="0">
                <a:solidFill>
                  <a:schemeClr val="tx1"/>
                </a:solidFill>
              </a:rPr>
              <a:t> layouts </a:t>
            </a:r>
            <a:r>
              <a:rPr lang="da-DK" sz="1800" b="0" noProof="0" dirty="0" err="1">
                <a:solidFill>
                  <a:schemeClr val="tx1"/>
                </a:solidFill>
              </a:rPr>
              <a:t>can</a:t>
            </a:r>
            <a:r>
              <a:rPr lang="da-DK" sz="1800" b="0" noProof="0" dirty="0">
                <a:solidFill>
                  <a:schemeClr val="tx1"/>
                </a:solidFill>
              </a:rPr>
              <a:t> </a:t>
            </a:r>
            <a:r>
              <a:rPr lang="da-DK" sz="1800" b="0" noProof="0" dirty="0" err="1">
                <a:solidFill>
                  <a:schemeClr val="tx1"/>
                </a:solidFill>
              </a:rPr>
              <a:t>appear</a:t>
            </a:r>
            <a:r>
              <a:rPr lang="da-DK" sz="1800" b="0" noProof="0" dirty="0">
                <a:solidFill>
                  <a:schemeClr val="tx1"/>
                </a:solidFill>
              </a:rPr>
              <a:t>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 dirty="0" err="1">
                <a:solidFill>
                  <a:schemeClr val="tx1"/>
                </a:solidFill>
              </a:rPr>
              <a:t>Also</a:t>
            </a:r>
            <a:r>
              <a:rPr lang="da-DK" sz="1800" b="0" noProof="0" dirty="0">
                <a:solidFill>
                  <a:schemeClr val="tx1"/>
                </a:solidFill>
              </a:rPr>
              <a:t> </a:t>
            </a:r>
            <a:r>
              <a:rPr lang="da-DK" sz="1800" b="0" noProof="0" dirty="0" err="1">
                <a:solidFill>
                  <a:schemeClr val="tx1"/>
                </a:solidFill>
              </a:rPr>
              <a:t>notice</a:t>
            </a:r>
            <a:r>
              <a:rPr lang="da-DK" sz="1800" b="0" noProof="0" dirty="0">
                <a:solidFill>
                  <a:schemeClr val="tx1"/>
                </a:solidFill>
              </a:rPr>
              <a:t>: Layouts </a:t>
            </a:r>
            <a:r>
              <a:rPr lang="da-DK" sz="1800" b="0" noProof="0" dirty="0" err="1">
                <a:solidFill>
                  <a:schemeClr val="tx1"/>
                </a:solidFill>
              </a:rPr>
              <a:t>after</a:t>
            </a:r>
            <a:r>
              <a:rPr lang="da-DK" sz="1800" b="0" noProof="0" dirty="0">
                <a:solidFill>
                  <a:schemeClr val="tx1"/>
                </a:solidFill>
              </a:rPr>
              <a:t> </a:t>
            </a:r>
            <a:r>
              <a:rPr lang="da-DK" sz="1800" b="0" noProof="0" dirty="0" err="1">
                <a:solidFill>
                  <a:schemeClr val="tx1"/>
                </a:solidFill>
              </a:rPr>
              <a:t>this</a:t>
            </a:r>
            <a:r>
              <a:rPr lang="da-DK" sz="1800" b="0" noProof="0" dirty="0">
                <a:solidFill>
                  <a:schemeClr val="tx1"/>
                </a:solidFill>
              </a:rPr>
              <a:t> </a:t>
            </a:r>
            <a:r>
              <a:rPr lang="da-DK" sz="1800" b="0" noProof="0" dirty="0" err="1">
                <a:solidFill>
                  <a:schemeClr val="tx1"/>
                </a:solidFill>
              </a:rPr>
              <a:t>might</a:t>
            </a:r>
            <a:r>
              <a:rPr lang="da-DK" sz="1800" b="0" noProof="0" dirty="0">
                <a:solidFill>
                  <a:schemeClr val="tx1"/>
                </a:solidFill>
              </a:rPr>
              <a:t> </a:t>
            </a:r>
            <a:r>
              <a:rPr lang="da-DK" sz="1800" b="0" noProof="0" dirty="0" err="1">
                <a:solidFill>
                  <a:schemeClr val="tx1"/>
                </a:solidFill>
              </a:rPr>
              <a:t>contain</a:t>
            </a:r>
            <a:r>
              <a:rPr lang="da-DK" sz="1800" b="0" noProof="0" dirty="0">
                <a:solidFill>
                  <a:schemeClr val="tx1"/>
                </a:solidFill>
              </a:rPr>
              <a:t> potential </a:t>
            </a:r>
            <a:r>
              <a:rPr lang="da-DK" sz="1800" b="0" noProof="0" dirty="0" err="1">
                <a:solidFill>
                  <a:schemeClr val="tx1"/>
                </a:solidFill>
              </a:rPr>
              <a:t>confidential</a:t>
            </a:r>
            <a:r>
              <a:rPr lang="da-DK" sz="1800" b="0" noProof="0" dirty="0">
                <a:solidFill>
                  <a:schemeClr val="tx1"/>
                </a:solidFill>
              </a:rPr>
              <a:t>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fortegnels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CB98090-0925-4CC7-918E-8B5C44AF7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3025B3B-C1DB-41E6-B15F-3F5C0704D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3BA0EF0-0025-4869-BE75-DF13498D2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05ACF021-E81F-472D-AAAA-2D57344528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29240"/>
            <a:ext cx="10515600" cy="68673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 dirty="0"/>
              <a:t>Agenda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C53520F3-8814-4583-A74F-D18821756C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797050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1</a:t>
            </a:r>
          </a:p>
        </p:txBody>
      </p:sp>
      <p:sp>
        <p:nvSpPr>
          <p:cNvPr id="12" name="Pladsholder til tekst 10">
            <a:extLst>
              <a:ext uri="{FF2B5EF4-FFF2-40B4-BE49-F238E27FC236}">
                <a16:creationId xmlns:a16="http://schemas.microsoft.com/office/drawing/2014/main" id="{04893FFD-A66D-410A-8A23-F48E1FB1D6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16371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2</a:t>
            </a:r>
          </a:p>
        </p:txBody>
      </p:sp>
      <p:sp>
        <p:nvSpPr>
          <p:cNvPr id="13" name="Pladsholder til tekst 10">
            <a:extLst>
              <a:ext uri="{FF2B5EF4-FFF2-40B4-BE49-F238E27FC236}">
                <a16:creationId xmlns:a16="http://schemas.microsoft.com/office/drawing/2014/main" id="{6D0237BF-1ECD-42F1-A71F-741E7A253B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279923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3</a:t>
            </a:r>
          </a:p>
        </p:txBody>
      </p:sp>
      <p:sp>
        <p:nvSpPr>
          <p:cNvPr id="14" name="Pladsholder til tekst 10">
            <a:extLst>
              <a:ext uri="{FF2B5EF4-FFF2-40B4-BE49-F238E27FC236}">
                <a16:creationId xmlns:a16="http://schemas.microsoft.com/office/drawing/2014/main" id="{72D1989D-679E-4ADE-9D78-73CB917520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4043475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4</a:t>
            </a:r>
          </a:p>
        </p:txBody>
      </p:sp>
      <p:sp>
        <p:nvSpPr>
          <p:cNvPr id="15" name="Pladsholder til tekst 10">
            <a:extLst>
              <a:ext uri="{FF2B5EF4-FFF2-40B4-BE49-F238E27FC236}">
                <a16:creationId xmlns:a16="http://schemas.microsoft.com/office/drawing/2014/main" id="{B6C257DA-3F25-4FED-9AEC-9D8EA793FE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4814004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5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E899DA0-1C8A-4F16-A504-B02A5C830C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4188" y="1797050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19" name="Pladsholder til tekst 17">
            <a:extLst>
              <a:ext uri="{FF2B5EF4-FFF2-40B4-BE49-F238E27FC236}">
                <a16:creationId xmlns:a16="http://schemas.microsoft.com/office/drawing/2014/main" id="{609CDC22-D49B-4ADE-816E-57F2E86B7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54188" y="2516371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20" name="Pladsholder til tekst 17">
            <a:extLst>
              <a:ext uri="{FF2B5EF4-FFF2-40B4-BE49-F238E27FC236}">
                <a16:creationId xmlns:a16="http://schemas.microsoft.com/office/drawing/2014/main" id="{49DC9E16-09E5-42B6-B0E3-6C6E9834C7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4188" y="3299317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21" name="Pladsholder til tekst 17">
            <a:extLst>
              <a:ext uri="{FF2B5EF4-FFF2-40B4-BE49-F238E27FC236}">
                <a16:creationId xmlns:a16="http://schemas.microsoft.com/office/drawing/2014/main" id="{CDA020CA-BDDC-438E-9A71-BC117CE79B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4188" y="4076700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22" name="Pladsholder til tekst 17">
            <a:extLst>
              <a:ext uri="{FF2B5EF4-FFF2-40B4-BE49-F238E27FC236}">
                <a16:creationId xmlns:a16="http://schemas.microsoft.com/office/drawing/2014/main" id="{F4CCEB29-4319-47A0-AC6B-5D3ABAAE1A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4188" y="4814004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6478129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assisk indholds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79DEB692-E86E-4E9D-AE3E-B1ABDCD59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A26768F-0444-4EC0-91C5-6FD90F9D4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BC34B34-1331-44BF-B8B8-E0786EE66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5C400EF-DB1D-48B7-BA38-26BD07A73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29029"/>
            <a:ext cx="10515600" cy="92569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en titel</a:t>
            </a:r>
          </a:p>
        </p:txBody>
      </p:sp>
      <p:sp>
        <p:nvSpPr>
          <p:cNvPr id="7" name="Pladsholder til indhold 10">
            <a:extLst>
              <a:ext uri="{FF2B5EF4-FFF2-40B4-BE49-F238E27FC236}">
                <a16:creationId xmlns:a16="http://schemas.microsoft.com/office/drawing/2014/main" id="{93B1FFFC-87E7-48EB-A900-E2A1807BBB1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8313" y="2276475"/>
            <a:ext cx="10515600" cy="3829050"/>
          </a:xfrm>
          <a:prstGeom prst="rect">
            <a:avLst/>
          </a:prstGeom>
        </p:spPr>
        <p:txBody>
          <a:bodyPr/>
          <a:lstStyle>
            <a:lvl1pPr>
              <a:buClrTx/>
              <a:defRPr sz="2400"/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Tekst</a:t>
            </a:r>
          </a:p>
          <a:p>
            <a:pPr lvl="2"/>
            <a:r>
              <a:rPr lang="da-DK" dirty="0"/>
              <a:t>Tekst</a:t>
            </a:r>
          </a:p>
          <a:p>
            <a:pPr lvl="3"/>
            <a:r>
              <a:rPr lang="da-DK" dirty="0"/>
              <a:t>Teks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FC41877D-1186-40A2-864E-10E7889CB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1546631"/>
            <a:ext cx="10515600" cy="3573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5111225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or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EE339E1-8533-4102-8F52-6274F1A35A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CB3E03A-ECBC-4F5E-88BF-F2779AF6C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C609012-82DA-425D-AF9A-D18FE2841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B86FDF17-DC93-4EB2-9632-CD84E41C0D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89994" y="1712394"/>
            <a:ext cx="7212012" cy="435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FEB76291-AF76-4C99-88BD-2453E2AB3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29029"/>
            <a:ext cx="10515600" cy="92569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en titel</a:t>
            </a:r>
          </a:p>
        </p:txBody>
      </p:sp>
    </p:spTree>
    <p:extLst>
      <p:ext uri="{BB962C8B-B14F-4D97-AF65-F5344CB8AC3E}">
        <p14:creationId xmlns:p14="http://schemas.microsoft.com/office/powerpoint/2010/main" val="20261292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o billed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0">
            <a:extLst>
              <a:ext uri="{FF2B5EF4-FFF2-40B4-BE49-F238E27FC236}">
                <a16:creationId xmlns:a16="http://schemas.microsoft.com/office/drawing/2014/main" id="{A2990DBB-21ED-D747-B497-0956E42889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540000"/>
            <a:ext cx="9144000" cy="562783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l"/>
            <a:r>
              <a:rPr lang="da-DK" dirty="0"/>
              <a:t>Klik for at tilføje en titel</a:t>
            </a:r>
            <a:endParaRPr lang="da-DK" b="1" cap="all" dirty="0">
              <a:solidFill>
                <a:schemeClr val="tx1"/>
              </a:solidFill>
              <a:latin typeface="Titillium Web SemiBold" pitchFamily="2" charset="77"/>
            </a:endParaRPr>
          </a:p>
        </p:txBody>
      </p:sp>
      <p:sp>
        <p:nvSpPr>
          <p:cNvPr id="10" name="Pladsholder til tekst 12">
            <a:extLst>
              <a:ext uri="{FF2B5EF4-FFF2-40B4-BE49-F238E27FC236}">
                <a16:creationId xmlns:a16="http://schemas.microsoft.com/office/drawing/2014/main" id="{0C298371-9D2E-BF42-B0DA-D0F02FB69B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31028" y="4449750"/>
            <a:ext cx="4458392" cy="13010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endParaRPr lang="da-DK" sz="2400" dirty="0">
              <a:latin typeface="Titillium Web" pitchFamily="2" charset="77"/>
            </a:endParaRPr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id="{C657F389-0B6E-B945-8C14-DA93FD98A1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0725" y="1318662"/>
            <a:ext cx="4457700" cy="2993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  <p:sp>
        <p:nvSpPr>
          <p:cNvPr id="14" name="Pladsholder til billede 12">
            <a:extLst>
              <a:ext uri="{FF2B5EF4-FFF2-40B4-BE49-F238E27FC236}">
                <a16:creationId xmlns:a16="http://schemas.microsoft.com/office/drawing/2014/main" id="{D965EC8A-8B22-6247-88B4-F6C628F590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31028" y="1318662"/>
            <a:ext cx="4457700" cy="2993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  <p:sp>
        <p:nvSpPr>
          <p:cNvPr id="17" name="Pladsholder til tekst 12">
            <a:extLst>
              <a:ext uri="{FF2B5EF4-FFF2-40B4-BE49-F238E27FC236}">
                <a16:creationId xmlns:a16="http://schemas.microsoft.com/office/drawing/2014/main" id="{ED05F562-6470-DF43-9553-C326CA6D95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0000" y="4449750"/>
            <a:ext cx="4458392" cy="13010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endParaRPr lang="da-DK" sz="2400" dirty="0">
              <a:latin typeface="Titillium Web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636187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 dirty="0"/>
              <a:t>Mark placeholder to </a:t>
            </a:r>
            <a:r>
              <a:rPr lang="da-DK" noProof="0" dirty="0" err="1"/>
              <a:t>insert</a:t>
            </a:r>
            <a:r>
              <a:rPr lang="da-DK" noProof="0" dirty="0"/>
              <a:t> image </a:t>
            </a:r>
            <a:r>
              <a:rPr lang="da-DK" dirty="0" err="1"/>
              <a:t>using</a:t>
            </a:r>
            <a:r>
              <a:rPr lang="da-DK" dirty="0"/>
              <a:t> the </a:t>
            </a:r>
            <a:r>
              <a:rPr lang="da-DK" dirty="0" err="1"/>
              <a:t>Insert</a:t>
            </a:r>
            <a:r>
              <a:rPr lang="da-DK" dirty="0"/>
              <a:t> tab – Pictures or from </a:t>
            </a:r>
            <a:r>
              <a:rPr lang="da-DK" dirty="0" err="1"/>
              <a:t>Templafy</a:t>
            </a:r>
            <a:endParaRPr lang="da-DK" dirty="0"/>
          </a:p>
          <a:p>
            <a:endParaRPr lang="da-DK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 dirty="0" err="1"/>
              <a:t>Subtitle</a:t>
            </a:r>
            <a:endParaRPr lang="da-DK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 dirty="0" err="1"/>
              <a:t>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63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61F60B9-AA42-4345-A52F-D83258330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CE2F3EC-5808-434A-89F0-EFCB3F7EC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D0F56D8-D0E9-4E72-BF98-1668464F9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547D553-2BFE-456E-AD29-8DC73B6FC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29029"/>
            <a:ext cx="10515600" cy="92569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 dirty="0"/>
              <a:t>Klik for at tilføje en titel</a:t>
            </a:r>
          </a:p>
        </p:txBody>
      </p:sp>
      <p:sp>
        <p:nvSpPr>
          <p:cNvPr id="9" name="Pladsholder til tekst 4">
            <a:extLst>
              <a:ext uri="{FF2B5EF4-FFF2-40B4-BE49-F238E27FC236}">
                <a16:creationId xmlns:a16="http://schemas.microsoft.com/office/drawing/2014/main" id="{07A19DD8-D473-478F-8047-8F23CE748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546631"/>
            <a:ext cx="10515600" cy="3573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Underrubrik</a:t>
            </a:r>
          </a:p>
        </p:txBody>
      </p:sp>
      <p:sp>
        <p:nvSpPr>
          <p:cNvPr id="10" name="Pladsholder til tekst 8">
            <a:extLst>
              <a:ext uri="{FF2B5EF4-FFF2-40B4-BE49-F238E27FC236}">
                <a16:creationId xmlns:a16="http://schemas.microsoft.com/office/drawing/2014/main" id="{71972070-83BA-4FC4-9CD5-5C2C566AB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2276475"/>
            <a:ext cx="5627687" cy="3829050"/>
          </a:xfrm>
          <a:prstGeom prst="rect">
            <a:avLst/>
          </a:prstGeom>
        </p:spPr>
        <p:txBody>
          <a:bodyPr/>
          <a:lstStyle>
            <a:lvl1pPr>
              <a:buClrTx/>
              <a:defRPr sz="2000"/>
            </a:lvl1pPr>
            <a:lvl2pPr>
              <a:buClrTx/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200"/>
            </a:lvl4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Tekst</a:t>
            </a:r>
          </a:p>
        </p:txBody>
      </p:sp>
      <p:sp>
        <p:nvSpPr>
          <p:cNvPr id="11" name="Pladsholder til tekst 15">
            <a:extLst>
              <a:ext uri="{FF2B5EF4-FFF2-40B4-BE49-F238E27FC236}">
                <a16:creationId xmlns:a16="http://schemas.microsoft.com/office/drawing/2014/main" id="{56BBEFCE-64F8-4AAA-966B-20C65A683C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1725" y="2276475"/>
            <a:ext cx="5627686" cy="3829050"/>
          </a:xfrm>
          <a:prstGeom prst="rect">
            <a:avLst/>
          </a:prstGeom>
        </p:spPr>
        <p:txBody>
          <a:bodyPr/>
          <a:lstStyle>
            <a:lvl1pPr>
              <a:buClrTx/>
              <a:defRPr sz="2000"/>
            </a:lvl1pPr>
            <a:lvl2pPr>
              <a:buClrTx/>
              <a:defRPr sz="1600"/>
            </a:lvl2pPr>
            <a:lvl3pPr marL="914400" indent="0">
              <a:buClr>
                <a:srgbClr val="F0503C"/>
              </a:buClr>
              <a:buNone/>
              <a:defRPr sz="1400"/>
            </a:lvl3pPr>
            <a:lvl4pPr marL="1371600" indent="0">
              <a:buClr>
                <a:srgbClr val="F0503C"/>
              </a:buClr>
              <a:buNone/>
              <a:defRPr sz="1200"/>
            </a:lvl4pPr>
            <a:lvl5pPr marL="1828800" indent="0">
              <a:buClr>
                <a:srgbClr val="F0503C"/>
              </a:buClr>
              <a:buNone/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36821142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leder/3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0">
            <a:extLst>
              <a:ext uri="{FF2B5EF4-FFF2-40B4-BE49-F238E27FC236}">
                <a16:creationId xmlns:a16="http://schemas.microsoft.com/office/drawing/2014/main" id="{A2990DBB-21ED-D747-B497-0956E42889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540000"/>
            <a:ext cx="9329980" cy="562783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l"/>
            <a:r>
              <a:rPr lang="da-DK" dirty="0"/>
              <a:t>Klik for at tilføje en titel</a:t>
            </a:r>
            <a:endParaRPr lang="da-DK" b="1" cap="all" dirty="0">
              <a:solidFill>
                <a:schemeClr val="tx1"/>
              </a:solidFill>
              <a:latin typeface="Titillium Web SemiBold" pitchFamily="2" charset="77"/>
            </a:endParaRPr>
          </a:p>
        </p:txBody>
      </p:sp>
      <p:sp>
        <p:nvSpPr>
          <p:cNvPr id="7" name="Pladsholder til tekst 12">
            <a:extLst>
              <a:ext uri="{FF2B5EF4-FFF2-40B4-BE49-F238E27FC236}">
                <a16:creationId xmlns:a16="http://schemas.microsoft.com/office/drawing/2014/main" id="{145B8318-5FE2-F74A-AEE2-45E561BE0D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3536594"/>
            <a:ext cx="2981282" cy="2450320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pPr marL="0" indent="0">
              <a:buNone/>
            </a:pPr>
            <a:endParaRPr lang="da-DK" sz="2400" dirty="0">
              <a:latin typeface="Titillium Web" pitchFamily="2" charset="77"/>
            </a:endParaRPr>
          </a:p>
        </p:txBody>
      </p:sp>
      <p:sp>
        <p:nvSpPr>
          <p:cNvPr id="12" name="Pladsholder til tekst 12">
            <a:extLst>
              <a:ext uri="{FF2B5EF4-FFF2-40B4-BE49-F238E27FC236}">
                <a16:creationId xmlns:a16="http://schemas.microsoft.com/office/drawing/2014/main" id="{20B4065D-DDC6-0B44-84DD-F52E2D22BF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94733" y="3536594"/>
            <a:ext cx="2981282" cy="2450320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pPr marL="0" indent="0">
              <a:buNone/>
            </a:pPr>
            <a:endParaRPr lang="da-DK" sz="2400" dirty="0">
              <a:latin typeface="Titillium Web" pitchFamily="2" charset="77"/>
            </a:endParaRPr>
          </a:p>
        </p:txBody>
      </p:sp>
      <p:sp>
        <p:nvSpPr>
          <p:cNvPr id="14" name="Pladsholder til tekst 12">
            <a:extLst>
              <a:ext uri="{FF2B5EF4-FFF2-40B4-BE49-F238E27FC236}">
                <a16:creationId xmlns:a16="http://schemas.microsoft.com/office/drawing/2014/main" id="{BD48417D-D069-A840-B65D-3314D1730D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69466" y="3536594"/>
            <a:ext cx="2981282" cy="2450320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pPr marL="0" indent="0">
              <a:buNone/>
            </a:pPr>
            <a:endParaRPr lang="da-DK" sz="2400" dirty="0">
              <a:latin typeface="Titillium Web" pitchFamily="2" charset="77"/>
            </a:endParaRPr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E3794E-5587-F640-803B-03EC26BD3C0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725" y="1319213"/>
            <a:ext cx="2981325" cy="2001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  <p:sp>
        <p:nvSpPr>
          <p:cNvPr id="16" name="Pladsholder til billede 7">
            <a:extLst>
              <a:ext uri="{FF2B5EF4-FFF2-40B4-BE49-F238E27FC236}">
                <a16:creationId xmlns:a16="http://schemas.microsoft.com/office/drawing/2014/main" id="{5F176B73-086D-CB4A-A290-448647716E3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94690" y="1318770"/>
            <a:ext cx="2981325" cy="2001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  <p:sp>
        <p:nvSpPr>
          <p:cNvPr id="17" name="Pladsholder til billede 7">
            <a:extLst>
              <a:ext uri="{FF2B5EF4-FFF2-40B4-BE49-F238E27FC236}">
                <a16:creationId xmlns:a16="http://schemas.microsoft.com/office/drawing/2014/main" id="{B63AFF19-8770-D24E-9353-D3F5564CC56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68655" y="1318769"/>
            <a:ext cx="2981325" cy="2001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223979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re objekt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0AA7BF-64EE-4456-8D02-F0ED5159D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FA85506-0A36-45B7-B815-B70D1CD4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B9C162E-D954-4A57-8E8B-9787E14C3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5FBC117E-FA31-45F8-98D4-3854F8E98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en titel</a:t>
            </a:r>
          </a:p>
        </p:txBody>
      </p:sp>
      <p:sp>
        <p:nvSpPr>
          <p:cNvPr id="7" name="Pladsholder til indhold 2">
            <a:extLst>
              <a:ext uri="{FF2B5EF4-FFF2-40B4-BE49-F238E27FC236}">
                <a16:creationId xmlns:a16="http://schemas.microsoft.com/office/drawing/2014/main" id="{0BD3378F-9BCF-4D95-B01F-3E68E73D221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824438"/>
            <a:ext cx="3074988" cy="2132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 dirty="0"/>
              <a:t>Klik for at indsætte billede/objekt</a:t>
            </a:r>
          </a:p>
        </p:txBody>
      </p:sp>
      <p:sp>
        <p:nvSpPr>
          <p:cNvPr id="8" name="Pladsholder til indhold 2">
            <a:extLst>
              <a:ext uri="{FF2B5EF4-FFF2-40B4-BE49-F238E27FC236}">
                <a16:creationId xmlns:a16="http://schemas.microsoft.com/office/drawing/2014/main" id="{7C23025C-E785-47D6-9489-E6429FDF74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01410" y="2824438"/>
            <a:ext cx="3074988" cy="2132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 dirty="0"/>
              <a:t>Klik for at indsætte billede/objekt</a:t>
            </a:r>
          </a:p>
        </p:txBody>
      </p:sp>
      <p:sp>
        <p:nvSpPr>
          <p:cNvPr id="9" name="Pladsholder til indhold 2">
            <a:extLst>
              <a:ext uri="{FF2B5EF4-FFF2-40B4-BE49-F238E27FC236}">
                <a16:creationId xmlns:a16="http://schemas.microsoft.com/office/drawing/2014/main" id="{2EB6D207-2F24-421A-BD7B-DF41486D26F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64620" y="2824438"/>
            <a:ext cx="3074988" cy="2132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 dirty="0"/>
              <a:t>Klik for at indsætte billede/objekt</a:t>
            </a:r>
          </a:p>
        </p:txBody>
      </p:sp>
    </p:spTree>
    <p:extLst>
      <p:ext uri="{BB962C8B-B14F-4D97-AF65-F5344CB8AC3E}">
        <p14:creationId xmlns:p14="http://schemas.microsoft.com/office/powerpoint/2010/main" val="12393810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eks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D561F65-38D9-4BE2-8FB5-C5B152131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9510F9B-DBCE-458D-A331-AFE4F2287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7FAD9B8-8B56-4CEC-A7FE-4AFD70E1A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9AAB6922-A711-44F7-AD57-F52685AB3D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>
                <a:solidFill>
                  <a:schemeClr val="tx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 dirty="0"/>
              <a:t>Klik for at tilføje en titel</a:t>
            </a:r>
          </a:p>
        </p:txBody>
      </p:sp>
      <p:sp>
        <p:nvSpPr>
          <p:cNvPr id="10" name="Pladsholder til diagram 6">
            <a:extLst>
              <a:ext uri="{FF2B5EF4-FFF2-40B4-BE49-F238E27FC236}">
                <a16:creationId xmlns:a16="http://schemas.microsoft.com/office/drawing/2014/main" id="{514B7927-E930-4915-B644-57F2DA6EC6C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168666" y="2147888"/>
            <a:ext cx="4449763" cy="3424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r>
              <a:rPr lang="da-DK" dirty="0"/>
              <a:t>Klik på ikonet for at tilføje et diagram/grafik</a:t>
            </a:r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E874EBB8-5F58-42E3-BB19-B4595A8A13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5234" y="2147888"/>
            <a:ext cx="4545013" cy="3424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484022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o billeder/grafik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E09C828-00D2-4E32-B8D2-BD6465AC9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DEB1D98-4BA0-43BF-8D1E-9D5ED4774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77EBF6D-735E-4A86-81FC-B286E764F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9">
            <a:extLst>
              <a:ext uri="{FF2B5EF4-FFF2-40B4-BE49-F238E27FC236}">
                <a16:creationId xmlns:a16="http://schemas.microsoft.com/office/drawing/2014/main" id="{25AD2A2B-8249-4313-8597-9AC9565273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9" y="326625"/>
            <a:ext cx="10637811" cy="109791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lang="da-DK" sz="3600" kern="1200" baseline="0" dirty="0">
                <a:solidFill>
                  <a:schemeClr val="tx1"/>
                </a:solidFill>
                <a:latin typeface="Titillium Web SemiBold" pitchFamily="2" charset="77"/>
                <a:ea typeface="+mn-ea"/>
                <a:cs typeface="+mn-cs"/>
              </a:defRPr>
            </a:lvl1pPr>
          </a:lstStyle>
          <a:p>
            <a:r>
              <a:rPr lang="da-DK" dirty="0"/>
              <a:t>Klik for at tilføje en titel</a:t>
            </a:r>
          </a:p>
        </p:txBody>
      </p:sp>
      <p:sp>
        <p:nvSpPr>
          <p:cNvPr id="7" name="Pladsholder til indhold 2">
            <a:extLst>
              <a:ext uri="{FF2B5EF4-FFF2-40B4-BE49-F238E27FC236}">
                <a16:creationId xmlns:a16="http://schemas.microsoft.com/office/drawing/2014/main" id="{A9672C23-94E6-47D8-9ED4-A05A7AD969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9240" y="2160201"/>
            <a:ext cx="4567993" cy="325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 dirty="0"/>
              <a:t>Her kan indsætte billede/objekt</a:t>
            </a:r>
          </a:p>
        </p:txBody>
      </p:sp>
      <p:sp>
        <p:nvSpPr>
          <p:cNvPr id="8" name="Pladsholder til indhold 2">
            <a:extLst>
              <a:ext uri="{FF2B5EF4-FFF2-40B4-BE49-F238E27FC236}">
                <a16:creationId xmlns:a16="http://schemas.microsoft.com/office/drawing/2014/main" id="{87F24556-3929-4927-A2E3-307C04AFAC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95230" y="2160200"/>
            <a:ext cx="4567992" cy="325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Her kan indsætte billede/objekt</a:t>
            </a:r>
          </a:p>
        </p:txBody>
      </p:sp>
    </p:spTree>
    <p:extLst>
      <p:ext uri="{BB962C8B-B14F-4D97-AF65-F5344CB8AC3E}">
        <p14:creationId xmlns:p14="http://schemas.microsoft.com/office/powerpoint/2010/main" val="9984174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ekst og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Pladsholder til tekst 12">
            <a:extLst>
              <a:ext uri="{FF2B5EF4-FFF2-40B4-BE49-F238E27FC236}">
                <a16:creationId xmlns:a16="http://schemas.microsoft.com/office/drawing/2014/main" id="{145B8318-5FE2-F74A-AEE2-45E561BE0D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907" y="2061882"/>
            <a:ext cx="6012328" cy="3617182"/>
          </a:xfrm>
          <a:prstGeom prst="rect">
            <a:avLst/>
          </a:prstGeom>
        </p:spPr>
        <p:txBody>
          <a:bodyPr/>
          <a:lstStyle>
            <a:lvl1pPr>
              <a:defRPr sz="2000" baseline="0">
                <a:latin typeface="Titillium Web" panose="00000500000000000000" pitchFamily="2" charset="0"/>
              </a:defRPr>
            </a:lvl1pPr>
          </a:lstStyle>
          <a:p>
            <a:pPr marL="0" indent="0">
              <a:buNone/>
            </a:pPr>
            <a:endParaRPr lang="da-DK" sz="2400" dirty="0">
              <a:latin typeface="Titillium Web" pitchFamily="2" charset="77"/>
            </a:endParaRPr>
          </a:p>
        </p:txBody>
      </p:sp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57C1B3C0-FEF5-4731-96F6-D23B2C4B675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96238" y="0"/>
            <a:ext cx="41957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Klik på ikonet for at tilføje et billede</a:t>
            </a:r>
          </a:p>
          <a:p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0869AC6-A9BF-4658-BFFD-0F870EA438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1907" y="431987"/>
            <a:ext cx="7464425" cy="12065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da-DK" sz="3600" kern="1200" baseline="0" dirty="0" smtClean="0">
                <a:solidFill>
                  <a:schemeClr val="tx1"/>
                </a:solidFill>
                <a:latin typeface="Titillium Web SemiBold" pitchFamily="2" charset="77"/>
                <a:ea typeface="+mn-ea"/>
                <a:cs typeface="+mn-cs"/>
              </a:defRPr>
            </a:lvl1pPr>
          </a:lstStyle>
          <a:p>
            <a:pPr lvl="0"/>
            <a:r>
              <a:rPr lang="da-DK" dirty="0"/>
              <a:t>Klik for at tilføje en titel</a:t>
            </a:r>
          </a:p>
        </p:txBody>
      </p:sp>
    </p:spTree>
    <p:extLst>
      <p:ext uri="{BB962C8B-B14F-4D97-AF65-F5344CB8AC3E}">
        <p14:creationId xmlns:p14="http://schemas.microsoft.com/office/powerpoint/2010/main" val="42487525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7E027155-FDCA-4894-8555-542583F0C7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25613" y="1379538"/>
            <a:ext cx="8566150" cy="36496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i="0"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da-DK" dirty="0"/>
              <a:t>Her kan du indsætte et citat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4EB22B33-1E0E-49DC-8129-E37939C8B661}"/>
              </a:ext>
            </a:extLst>
          </p:cNvPr>
          <p:cNvSpPr txBox="1"/>
          <p:nvPr userDrawn="1"/>
        </p:nvSpPr>
        <p:spPr>
          <a:xfrm>
            <a:off x="5627479" y="5084196"/>
            <a:ext cx="4664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a-DK" sz="2400" dirty="0">
                <a:latin typeface="Titillium Web" panose="00000500000000000000" pitchFamily="2" charset="0"/>
              </a:rPr>
              <a:t>– Husk kilde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4ADCEF0-6131-47F9-98FE-4ACA7E0C8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77055" y="-332078"/>
            <a:ext cx="4847965" cy="4847965"/>
          </a:xfrm>
          <a:prstGeom prst="rect">
            <a:avLst/>
          </a:prstGeom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1040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FCBD5698-E452-4437-955A-7B08EE299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23D75EE-91A1-44C2-8173-B468FD90D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295E126-6E91-4EF8-8E4E-8EBA3DB3F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FF2B4A3-E4C4-4A42-97AD-FFF21BC47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5400" b="1">
                <a:solidFill>
                  <a:schemeClr val="tx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INDSÆTTE ET MARKANT STATEMENT.</a:t>
            </a:r>
          </a:p>
        </p:txBody>
      </p:sp>
    </p:spTree>
    <p:extLst>
      <p:ext uri="{BB962C8B-B14F-4D97-AF65-F5344CB8AC3E}">
        <p14:creationId xmlns:p14="http://schemas.microsoft.com/office/powerpoint/2010/main" val="38889302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993B409-D47C-4051-8CE1-96757CBAC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E1BB2AE-EFC3-46C7-B01D-C3AB126F3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83756D2-5B3B-4685-B565-4D29FCCD2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97E20EB8-B8DC-43AC-B6C7-68974003A80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25613" y="1379538"/>
            <a:ext cx="8566150" cy="36496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i="0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da-DK" dirty="0"/>
              <a:t>Her kan du indsætte et cita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764627B8-F23D-4873-A660-15D12442FC73}"/>
              </a:ext>
            </a:extLst>
          </p:cNvPr>
          <p:cNvSpPr txBox="1"/>
          <p:nvPr userDrawn="1"/>
        </p:nvSpPr>
        <p:spPr>
          <a:xfrm>
            <a:off x="5627479" y="5084196"/>
            <a:ext cx="4664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a-DK" sz="2400" dirty="0">
                <a:solidFill>
                  <a:schemeClr val="bg1"/>
                </a:solidFill>
                <a:latin typeface="Titillium Web" panose="00000500000000000000" pitchFamily="2" charset="0"/>
              </a:rPr>
              <a:t>– Husk kild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341AB24E-4FDA-4943-81C2-77B8E207F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77055" y="-332078"/>
            <a:ext cx="4847965" cy="4847965"/>
          </a:xfrm>
          <a:prstGeom prst="rect">
            <a:avLst/>
          </a:prstGeom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Pladsholder til slidenummer 4">
            <a:extLst>
              <a:ext uri="{FF2B5EF4-FFF2-40B4-BE49-F238E27FC236}">
                <a16:creationId xmlns:a16="http://schemas.microsoft.com/office/drawing/2014/main" id="{2A32B796-8C51-C204-0A10-12FA77C04142}"/>
              </a:ext>
            </a:extLst>
          </p:cNvPr>
          <p:cNvSpPr txBox="1">
            <a:spLocks/>
          </p:cNvSpPr>
          <p:nvPr userDrawn="1"/>
        </p:nvSpPr>
        <p:spPr>
          <a:xfrm>
            <a:off x="239333" y="107756"/>
            <a:ext cx="4432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6C7EA85-D007-2649-ADD5-2985A6BCD4D5}" type="slidenum">
              <a:rPr lang="da-DK" smtClean="0"/>
              <a:pPr algn="l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178052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11EAAC2-9E4D-4C79-9BE5-AD9EA6581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3F34312-EAF2-422C-977E-61D71DD49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ABC0CD1-4D4D-4726-B52F-B7038D428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40190BFF-FDC8-4991-AE6B-E577FC9E3A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5400" b="1">
                <a:solidFill>
                  <a:schemeClr val="bg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INDSÆTTE ET MARKANT STATEMENT.</a:t>
            </a:r>
          </a:p>
        </p:txBody>
      </p:sp>
      <p:sp>
        <p:nvSpPr>
          <p:cNvPr id="7" name="Pladsholder til slidenummer 4">
            <a:extLst>
              <a:ext uri="{FF2B5EF4-FFF2-40B4-BE49-F238E27FC236}">
                <a16:creationId xmlns:a16="http://schemas.microsoft.com/office/drawing/2014/main" id="{4D2F15C7-3F8B-0CA3-9478-17FF05A7CC9B}"/>
              </a:ext>
            </a:extLst>
          </p:cNvPr>
          <p:cNvSpPr txBox="1">
            <a:spLocks/>
          </p:cNvSpPr>
          <p:nvPr userDrawn="1"/>
        </p:nvSpPr>
        <p:spPr>
          <a:xfrm>
            <a:off x="239333" y="107756"/>
            <a:ext cx="4432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6C7EA85-D007-2649-ADD5-2985A6BCD4D5}" type="slidenum">
              <a:rPr lang="da-DK" smtClean="0"/>
              <a:pPr algn="l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33268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 dirty="0" err="1"/>
              <a:t>Subtitle</a:t>
            </a:r>
            <a:endParaRPr lang="da-DK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 dirty="0" err="1"/>
              <a:t>Headline</a:t>
            </a:r>
            <a:endParaRPr lang="da-DK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6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11EAAC2-9E4D-4C79-9BE5-AD9EA6581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3F34312-EAF2-422C-977E-61D71DD49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ABC0CD1-4D4D-4726-B52F-B7038D428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40190BFF-FDC8-4991-AE6B-E577FC9E3A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6000" b="1">
                <a:solidFill>
                  <a:schemeClr val="bg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skrive en afsluttende bemærkning</a:t>
            </a:r>
          </a:p>
        </p:txBody>
      </p:sp>
    </p:spTree>
    <p:extLst>
      <p:ext uri="{BB962C8B-B14F-4D97-AF65-F5344CB8AC3E}">
        <p14:creationId xmlns:p14="http://schemas.microsoft.com/office/powerpoint/2010/main" val="37529946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92BDC28-15AA-4472-986D-9D40B03D3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1B6B8C9-71C4-4A14-86BF-6C4CE354A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621AD02E-2FD2-48C7-BCC2-C8D051949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tekst 8">
            <a:extLst>
              <a:ext uri="{FF2B5EF4-FFF2-40B4-BE49-F238E27FC236}">
                <a16:creationId xmlns:a16="http://schemas.microsoft.com/office/drawing/2014/main" id="{E07C49CB-8ACA-4883-A945-D960C3A2FF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93254" y="2635250"/>
            <a:ext cx="6683375" cy="15875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 dirty="0"/>
              <a:t>Afsnittets titel</a:t>
            </a:r>
          </a:p>
        </p:txBody>
      </p:sp>
      <p:sp>
        <p:nvSpPr>
          <p:cNvPr id="7" name="Pladsholder til tekst 7">
            <a:extLst>
              <a:ext uri="{FF2B5EF4-FFF2-40B4-BE49-F238E27FC236}">
                <a16:creationId xmlns:a16="http://schemas.microsoft.com/office/drawing/2014/main" id="{D73C850E-4158-4FF6-83AE-190EA3E88B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19" y="2276475"/>
            <a:ext cx="2325835" cy="230505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da-DK" sz="8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7781152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DC1B934-4BDC-4B30-B2E4-4A093867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7BC6C066-9B72-4151-9CAA-3B60E83A3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987C756-C142-4469-A6C8-913F38F08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A8EF9B42-9527-4643-B381-3D17CC7F02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25613" y="1379538"/>
            <a:ext cx="8566150" cy="36496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i="0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da-DK" dirty="0"/>
              <a:t>Her kan du indsætte et cita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720A25DC-D4A9-436F-A9DA-EFCE364AB22D}"/>
              </a:ext>
            </a:extLst>
          </p:cNvPr>
          <p:cNvSpPr txBox="1"/>
          <p:nvPr userDrawn="1"/>
        </p:nvSpPr>
        <p:spPr>
          <a:xfrm>
            <a:off x="5627479" y="5084196"/>
            <a:ext cx="4664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a-DK" sz="2400" dirty="0">
                <a:solidFill>
                  <a:schemeClr val="bg1"/>
                </a:solidFill>
                <a:latin typeface="Titillium Web" panose="00000500000000000000" pitchFamily="2" charset="0"/>
              </a:rPr>
              <a:t>– Husk kild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AC5D0A-52B6-4F80-91D4-212BB491B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77055" y="-332078"/>
            <a:ext cx="4847965" cy="4847965"/>
          </a:xfrm>
          <a:prstGeom prst="rect">
            <a:avLst/>
          </a:prstGeom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709789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A8AD0A50-8B03-4DAB-8414-93D51114C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64DF831-0468-483C-970E-AA2A4E726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2BF27BF-D9BF-4DFA-B805-3C22166A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D35B206A-A5DB-40BF-978E-BA6DA4DAF0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5400" b="1">
                <a:solidFill>
                  <a:schemeClr val="bg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INDSÆTTE ET MARKANT STATEMENT.</a:t>
            </a:r>
          </a:p>
        </p:txBody>
      </p:sp>
    </p:spTree>
    <p:extLst>
      <p:ext uri="{BB962C8B-B14F-4D97-AF65-F5344CB8AC3E}">
        <p14:creationId xmlns:p14="http://schemas.microsoft.com/office/powerpoint/2010/main" val="21774831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06A7130-4D13-42B2-B1F2-55E467AC6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314D20F-E8C4-4C2B-9CD2-7A20B29A8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B27C3EE-23FD-43EE-85A3-EBFF71DCB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tekst 8">
            <a:extLst>
              <a:ext uri="{FF2B5EF4-FFF2-40B4-BE49-F238E27FC236}">
                <a16:creationId xmlns:a16="http://schemas.microsoft.com/office/drawing/2014/main" id="{7840B210-809B-440F-ACB9-639C37AB7C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93254" y="2635250"/>
            <a:ext cx="6683375" cy="15875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 dirty="0"/>
              <a:t>Afsnittets titel</a:t>
            </a:r>
          </a:p>
        </p:txBody>
      </p:sp>
      <p:sp>
        <p:nvSpPr>
          <p:cNvPr id="7" name="Pladsholder til tekst 7">
            <a:extLst>
              <a:ext uri="{FF2B5EF4-FFF2-40B4-BE49-F238E27FC236}">
                <a16:creationId xmlns:a16="http://schemas.microsoft.com/office/drawing/2014/main" id="{F6473AC8-F835-4B2E-A082-F0DB13C871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19" y="2276475"/>
            <a:ext cx="2325835" cy="230505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da-DK" sz="8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385057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11EAAC2-9E4D-4C79-9BE5-AD9EA6581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3F34312-EAF2-422C-977E-61D71DD49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ABC0CD1-4D4D-4726-B52F-B7038D428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40190BFF-FDC8-4991-AE6B-E577FC9E3A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6000" b="1">
                <a:solidFill>
                  <a:schemeClr val="bg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skrive en afsluttende bemærkning</a:t>
            </a:r>
          </a:p>
        </p:txBody>
      </p:sp>
    </p:spTree>
    <p:extLst>
      <p:ext uri="{BB962C8B-B14F-4D97-AF65-F5344CB8AC3E}">
        <p14:creationId xmlns:p14="http://schemas.microsoft.com/office/powerpoint/2010/main" val="2886440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741DF2B0-8257-4FAD-8E8C-50E81657DA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BB94377-7B77-49A8-9268-3B5956CC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699A3CC7-629C-41D6-9BDF-022908629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AC97A8D4-BA75-478A-9609-1C0359C3F6D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25613" y="1379538"/>
            <a:ext cx="8566150" cy="36496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i="0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da-DK" dirty="0"/>
              <a:t>Her kan du indsætte et cita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D16CBBBA-D8E6-4A05-B235-5735507BCBF5}"/>
              </a:ext>
            </a:extLst>
          </p:cNvPr>
          <p:cNvSpPr txBox="1"/>
          <p:nvPr userDrawn="1"/>
        </p:nvSpPr>
        <p:spPr>
          <a:xfrm>
            <a:off x="5627479" y="5084196"/>
            <a:ext cx="4664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a-DK" sz="2400" dirty="0">
                <a:solidFill>
                  <a:schemeClr val="bg1"/>
                </a:solidFill>
                <a:latin typeface="Titillium Web" panose="00000500000000000000" pitchFamily="2" charset="0"/>
              </a:rPr>
              <a:t>– Husk kild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19A0D624-A441-4C06-9036-24AC085E83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77055" y="-332078"/>
            <a:ext cx="4847965" cy="4847965"/>
          </a:xfrm>
          <a:prstGeom prst="rect">
            <a:avLst/>
          </a:prstGeom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78443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DB4115C-2B2D-4C4C-AAD0-3E7877DEF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7B997CC-7FD8-4448-875C-2EC2AA8DBC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0458DCD-4F73-4549-944A-D813E26EB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D568153-4A6C-4D85-AFBC-493541F6E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5400" b="1">
                <a:solidFill>
                  <a:schemeClr val="bg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INDSÆTTE ET MARKANT STATEMENT.</a:t>
            </a:r>
          </a:p>
        </p:txBody>
      </p:sp>
    </p:spTree>
    <p:extLst>
      <p:ext uri="{BB962C8B-B14F-4D97-AF65-F5344CB8AC3E}">
        <p14:creationId xmlns:p14="http://schemas.microsoft.com/office/powerpoint/2010/main" val="10955142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A2225228-7768-4FDB-B125-6B8FD088A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3C34D56-588C-4CF2-9832-A56D70CB7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3D00C36-C2C7-4902-8C67-5BBBDA404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tekst 8">
            <a:extLst>
              <a:ext uri="{FF2B5EF4-FFF2-40B4-BE49-F238E27FC236}">
                <a16:creationId xmlns:a16="http://schemas.microsoft.com/office/drawing/2014/main" id="{6B28E1F0-D082-4D16-AF49-6054907F53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93254" y="2635250"/>
            <a:ext cx="6683375" cy="15875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 dirty="0"/>
              <a:t>Afsnittets titel</a:t>
            </a:r>
          </a:p>
        </p:txBody>
      </p:sp>
      <p:sp>
        <p:nvSpPr>
          <p:cNvPr id="7" name="Pladsholder til tekst 7">
            <a:extLst>
              <a:ext uri="{FF2B5EF4-FFF2-40B4-BE49-F238E27FC236}">
                <a16:creationId xmlns:a16="http://schemas.microsoft.com/office/drawing/2014/main" id="{CF95536C-BB67-4F45-A7EF-C22D460C4A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19" y="2276475"/>
            <a:ext cx="2325835" cy="230505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da-DK" sz="8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6763647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11EAAC2-9E4D-4C79-9BE5-AD9EA6581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3F34312-EAF2-422C-977E-61D71DD49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ABC0CD1-4D4D-4726-B52F-B7038D428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40190BFF-FDC8-4991-AE6B-E577FC9E3A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6000" b="1">
                <a:solidFill>
                  <a:schemeClr val="bg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 dirty="0"/>
              <a:t>Her kan du skrive en afsluttende bemærkning</a:t>
            </a:r>
          </a:p>
        </p:txBody>
      </p:sp>
    </p:spTree>
    <p:extLst>
      <p:ext uri="{BB962C8B-B14F-4D97-AF65-F5344CB8AC3E}">
        <p14:creationId xmlns:p14="http://schemas.microsoft.com/office/powerpoint/2010/main" val="3710486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Agenda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agenda poin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fortegnels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CB98090-0925-4CC7-918E-8B5C44AF7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AF72C-092F-4DB3-B3D9-6BF2CC20FB86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3025B3B-C1DB-41E6-B15F-3F5C0704D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3BA0EF0-0025-4869-BE75-DF13498D2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05ACF021-E81F-472D-AAAA-2D57344528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29240"/>
            <a:ext cx="10515600" cy="68673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C53520F3-8814-4583-A74F-D18821756C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797050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1</a:t>
            </a:r>
          </a:p>
        </p:txBody>
      </p:sp>
      <p:sp>
        <p:nvSpPr>
          <p:cNvPr id="12" name="Pladsholder til tekst 10">
            <a:extLst>
              <a:ext uri="{FF2B5EF4-FFF2-40B4-BE49-F238E27FC236}">
                <a16:creationId xmlns:a16="http://schemas.microsoft.com/office/drawing/2014/main" id="{04893FFD-A66D-410A-8A23-F48E1FB1D6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16371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2</a:t>
            </a:r>
          </a:p>
        </p:txBody>
      </p:sp>
      <p:sp>
        <p:nvSpPr>
          <p:cNvPr id="13" name="Pladsholder til tekst 10">
            <a:extLst>
              <a:ext uri="{FF2B5EF4-FFF2-40B4-BE49-F238E27FC236}">
                <a16:creationId xmlns:a16="http://schemas.microsoft.com/office/drawing/2014/main" id="{6D0237BF-1ECD-42F1-A71F-741E7A253B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279923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3</a:t>
            </a:r>
          </a:p>
        </p:txBody>
      </p:sp>
      <p:sp>
        <p:nvSpPr>
          <p:cNvPr id="14" name="Pladsholder til tekst 10">
            <a:extLst>
              <a:ext uri="{FF2B5EF4-FFF2-40B4-BE49-F238E27FC236}">
                <a16:creationId xmlns:a16="http://schemas.microsoft.com/office/drawing/2014/main" id="{72D1989D-679E-4ADE-9D78-73CB917520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4043475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4</a:t>
            </a:r>
          </a:p>
        </p:txBody>
      </p:sp>
      <p:sp>
        <p:nvSpPr>
          <p:cNvPr id="15" name="Pladsholder til tekst 10">
            <a:extLst>
              <a:ext uri="{FF2B5EF4-FFF2-40B4-BE49-F238E27FC236}">
                <a16:creationId xmlns:a16="http://schemas.microsoft.com/office/drawing/2014/main" id="{B6C257DA-3F25-4FED-9AEC-9D8EA793FE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4814004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5</a:t>
            </a: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E899DA0-1C8A-4F16-A504-B02A5C830C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4188" y="1797050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19" name="Pladsholder til tekst 17">
            <a:extLst>
              <a:ext uri="{FF2B5EF4-FFF2-40B4-BE49-F238E27FC236}">
                <a16:creationId xmlns:a16="http://schemas.microsoft.com/office/drawing/2014/main" id="{609CDC22-D49B-4ADE-816E-57F2E86B7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54188" y="2516371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20" name="Pladsholder til tekst 17">
            <a:extLst>
              <a:ext uri="{FF2B5EF4-FFF2-40B4-BE49-F238E27FC236}">
                <a16:creationId xmlns:a16="http://schemas.microsoft.com/office/drawing/2014/main" id="{49DC9E16-09E5-42B6-B0E3-6C6E9834C7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4188" y="3299317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21" name="Pladsholder til tekst 17">
            <a:extLst>
              <a:ext uri="{FF2B5EF4-FFF2-40B4-BE49-F238E27FC236}">
                <a16:creationId xmlns:a16="http://schemas.microsoft.com/office/drawing/2014/main" id="{CDA020CA-BDDC-438E-9A71-BC117CE79B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4188" y="4076700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22" name="Pladsholder til tekst 17">
            <a:extLst>
              <a:ext uri="{FF2B5EF4-FFF2-40B4-BE49-F238E27FC236}">
                <a16:creationId xmlns:a16="http://schemas.microsoft.com/office/drawing/2014/main" id="{F4CCEB29-4319-47A0-AC6B-5D3ABAAE1A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4188" y="4814004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16" name="Pladsholder til tekst 10">
            <a:extLst>
              <a:ext uri="{FF2B5EF4-FFF2-40B4-BE49-F238E27FC236}">
                <a16:creationId xmlns:a16="http://schemas.microsoft.com/office/drawing/2014/main" id="{4A510ACC-B630-4787-8123-61212047C2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584533"/>
            <a:ext cx="724786" cy="552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z="2800" b="1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06</a:t>
            </a:r>
          </a:p>
        </p:txBody>
      </p:sp>
      <p:sp>
        <p:nvSpPr>
          <p:cNvPr id="17" name="Pladsholder til tekst 17">
            <a:extLst>
              <a:ext uri="{FF2B5EF4-FFF2-40B4-BE49-F238E27FC236}">
                <a16:creationId xmlns:a16="http://schemas.microsoft.com/office/drawing/2014/main" id="{662201E8-D951-497A-B74B-6638F7CDEB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54188" y="5584828"/>
            <a:ext cx="959961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236513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assisk indholds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79DEB692-E86E-4E9D-AE3E-B1ABDCD59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B04DD-1B49-4660-880A-C0E96AACBEEA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A26768F-0444-4EC0-91C5-6FD90F9D4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BC34B34-1331-44BF-B8B8-E0786EE66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5C400EF-DB1D-48B7-BA38-26BD07A73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29029"/>
            <a:ext cx="10515600" cy="92569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en titel</a:t>
            </a:r>
          </a:p>
        </p:txBody>
      </p:sp>
      <p:sp>
        <p:nvSpPr>
          <p:cNvPr id="7" name="Pladsholder til indhold 10">
            <a:extLst>
              <a:ext uri="{FF2B5EF4-FFF2-40B4-BE49-F238E27FC236}">
                <a16:creationId xmlns:a16="http://schemas.microsoft.com/office/drawing/2014/main" id="{93B1FFFC-87E7-48EB-A900-E2A1807BBB1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8313" y="2276475"/>
            <a:ext cx="10515600" cy="3829050"/>
          </a:xfrm>
          <a:prstGeom prst="rect">
            <a:avLst/>
          </a:prstGeom>
        </p:spPr>
        <p:txBody>
          <a:bodyPr/>
          <a:lstStyle>
            <a:lvl1pPr>
              <a:buClrTx/>
              <a:defRPr sz="2400"/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Tekst</a:t>
            </a:r>
          </a:p>
          <a:p>
            <a:pPr lvl="2"/>
            <a:r>
              <a:rPr lang="da-DK"/>
              <a:t>Tekst</a:t>
            </a:r>
          </a:p>
          <a:p>
            <a:pPr lvl="3"/>
            <a:r>
              <a:rPr lang="da-DK"/>
              <a:t>Teks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FC41877D-1186-40A2-864E-10E7889CB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1546631"/>
            <a:ext cx="10515600" cy="3573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36326925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or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EE339E1-8533-4102-8F52-6274F1A35A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98EAE-682F-4316-A6F7-22487140243A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CB3E03A-ECBC-4F5E-88BF-F2779AF6C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C609012-82DA-425D-AF9A-D18FE2841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B86FDF17-DC93-4EB2-9632-CD84E41C0D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89994" y="1712394"/>
            <a:ext cx="7212012" cy="435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FEB76291-AF76-4C99-88BD-2453E2AB3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29029"/>
            <a:ext cx="10515600" cy="92569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en titel</a:t>
            </a:r>
          </a:p>
        </p:txBody>
      </p:sp>
    </p:spTree>
    <p:extLst>
      <p:ext uri="{BB962C8B-B14F-4D97-AF65-F5344CB8AC3E}">
        <p14:creationId xmlns:p14="http://schemas.microsoft.com/office/powerpoint/2010/main" val="27794729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o billed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CECF7-2CE5-40B2-A3E7-BE8D7D2691F0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0">
            <a:extLst>
              <a:ext uri="{FF2B5EF4-FFF2-40B4-BE49-F238E27FC236}">
                <a16:creationId xmlns:a16="http://schemas.microsoft.com/office/drawing/2014/main" id="{A2990DBB-21ED-D747-B497-0956E42889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540000"/>
            <a:ext cx="9144000" cy="562783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l"/>
            <a:r>
              <a:rPr lang="da-DK"/>
              <a:t>Klik for at tilføje en titel</a:t>
            </a:r>
            <a:endParaRPr lang="da-DK" b="1" cap="all">
              <a:solidFill>
                <a:schemeClr val="tx1"/>
              </a:solidFill>
              <a:latin typeface="Titillium Web SemiBold" pitchFamily="2" charset="77"/>
            </a:endParaRPr>
          </a:p>
        </p:txBody>
      </p:sp>
      <p:sp>
        <p:nvSpPr>
          <p:cNvPr id="10" name="Pladsholder til tekst 12">
            <a:extLst>
              <a:ext uri="{FF2B5EF4-FFF2-40B4-BE49-F238E27FC236}">
                <a16:creationId xmlns:a16="http://schemas.microsoft.com/office/drawing/2014/main" id="{0C298371-9D2E-BF42-B0DA-D0F02FB69B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31028" y="4449750"/>
            <a:ext cx="4458392" cy="13010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endParaRPr lang="da-DK" sz="2400">
              <a:latin typeface="Titillium Web" pitchFamily="2" charset="77"/>
            </a:endParaRPr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id="{C657F389-0B6E-B945-8C14-DA93FD98A1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0725" y="1318662"/>
            <a:ext cx="4457700" cy="2993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  <p:sp>
        <p:nvSpPr>
          <p:cNvPr id="14" name="Pladsholder til billede 12">
            <a:extLst>
              <a:ext uri="{FF2B5EF4-FFF2-40B4-BE49-F238E27FC236}">
                <a16:creationId xmlns:a16="http://schemas.microsoft.com/office/drawing/2014/main" id="{D965EC8A-8B22-6247-88B4-F6C628F590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31028" y="1318662"/>
            <a:ext cx="4457700" cy="2993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  <p:sp>
        <p:nvSpPr>
          <p:cNvPr id="17" name="Pladsholder til tekst 12">
            <a:extLst>
              <a:ext uri="{FF2B5EF4-FFF2-40B4-BE49-F238E27FC236}">
                <a16:creationId xmlns:a16="http://schemas.microsoft.com/office/drawing/2014/main" id="{ED05F562-6470-DF43-9553-C326CA6D95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0000" y="4449750"/>
            <a:ext cx="4458392" cy="13010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indent="0">
              <a:buNone/>
            </a:pPr>
            <a:endParaRPr lang="da-DK" sz="2400">
              <a:latin typeface="Titillium Web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308844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61F60B9-AA42-4345-A52F-D83258330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C03AA-D273-499E-8118-6FCBDDB6E6A5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CE2F3EC-5808-434A-89F0-EFCB3F7EC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D0F56D8-D0E9-4E72-BF98-1668464F9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547D553-2BFE-456E-AD29-8DC73B6FC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29029"/>
            <a:ext cx="10515600" cy="92569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/>
              <a:t>Klik for at tilføje en titel</a:t>
            </a:r>
          </a:p>
        </p:txBody>
      </p:sp>
      <p:sp>
        <p:nvSpPr>
          <p:cNvPr id="9" name="Pladsholder til tekst 4">
            <a:extLst>
              <a:ext uri="{FF2B5EF4-FFF2-40B4-BE49-F238E27FC236}">
                <a16:creationId xmlns:a16="http://schemas.microsoft.com/office/drawing/2014/main" id="{07A19DD8-D473-478F-8047-8F23CE748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546631"/>
            <a:ext cx="10515600" cy="3573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Underrubrik</a:t>
            </a:r>
          </a:p>
        </p:txBody>
      </p:sp>
      <p:sp>
        <p:nvSpPr>
          <p:cNvPr id="10" name="Pladsholder til tekst 8">
            <a:extLst>
              <a:ext uri="{FF2B5EF4-FFF2-40B4-BE49-F238E27FC236}">
                <a16:creationId xmlns:a16="http://schemas.microsoft.com/office/drawing/2014/main" id="{71972070-83BA-4FC4-9CD5-5C2C566AB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2276475"/>
            <a:ext cx="5627687" cy="3829050"/>
          </a:xfrm>
          <a:prstGeom prst="rect">
            <a:avLst/>
          </a:prstGeom>
        </p:spPr>
        <p:txBody>
          <a:bodyPr/>
          <a:lstStyle>
            <a:lvl1pPr>
              <a:buClrTx/>
              <a:defRPr sz="2000"/>
            </a:lvl1pPr>
            <a:lvl2pPr>
              <a:buClrTx/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200"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Tekst</a:t>
            </a:r>
          </a:p>
        </p:txBody>
      </p:sp>
      <p:sp>
        <p:nvSpPr>
          <p:cNvPr id="11" name="Pladsholder til tekst 15">
            <a:extLst>
              <a:ext uri="{FF2B5EF4-FFF2-40B4-BE49-F238E27FC236}">
                <a16:creationId xmlns:a16="http://schemas.microsoft.com/office/drawing/2014/main" id="{56BBEFCE-64F8-4AAA-966B-20C65A683C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1725" y="2276475"/>
            <a:ext cx="5627686" cy="3829050"/>
          </a:xfrm>
          <a:prstGeom prst="rect">
            <a:avLst/>
          </a:prstGeom>
        </p:spPr>
        <p:txBody>
          <a:bodyPr/>
          <a:lstStyle>
            <a:lvl1pPr>
              <a:buClrTx/>
              <a:defRPr sz="2000"/>
            </a:lvl1pPr>
            <a:lvl2pPr>
              <a:buClrTx/>
              <a:defRPr sz="1600"/>
            </a:lvl2pPr>
            <a:lvl3pPr marL="914400" indent="0">
              <a:buClr>
                <a:srgbClr val="F0503C"/>
              </a:buClr>
              <a:buNone/>
              <a:defRPr sz="1400"/>
            </a:lvl3pPr>
            <a:lvl4pPr marL="1371600" indent="0">
              <a:buClr>
                <a:srgbClr val="F0503C"/>
              </a:buClr>
              <a:buNone/>
              <a:defRPr sz="1200"/>
            </a:lvl4pPr>
            <a:lvl5pPr marL="1828800" indent="0">
              <a:buClr>
                <a:srgbClr val="F0503C"/>
              </a:buClr>
              <a:buNone/>
              <a:defRPr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14320988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leder/3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50246-CA80-410A-9685-F9042176645E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0">
            <a:extLst>
              <a:ext uri="{FF2B5EF4-FFF2-40B4-BE49-F238E27FC236}">
                <a16:creationId xmlns:a16="http://schemas.microsoft.com/office/drawing/2014/main" id="{A2990DBB-21ED-D747-B497-0956E42889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540000"/>
            <a:ext cx="9329980" cy="562783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l"/>
            <a:r>
              <a:rPr lang="da-DK"/>
              <a:t>Klik for at tilføje en titel</a:t>
            </a:r>
            <a:endParaRPr lang="da-DK" b="1" cap="all">
              <a:solidFill>
                <a:schemeClr val="tx1"/>
              </a:solidFill>
              <a:latin typeface="Titillium Web SemiBold" pitchFamily="2" charset="77"/>
            </a:endParaRPr>
          </a:p>
        </p:txBody>
      </p:sp>
      <p:sp>
        <p:nvSpPr>
          <p:cNvPr id="7" name="Pladsholder til tekst 12">
            <a:extLst>
              <a:ext uri="{FF2B5EF4-FFF2-40B4-BE49-F238E27FC236}">
                <a16:creationId xmlns:a16="http://schemas.microsoft.com/office/drawing/2014/main" id="{145B8318-5FE2-F74A-AEE2-45E561BE0D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3536594"/>
            <a:ext cx="2981282" cy="2450320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pPr marL="0" indent="0">
              <a:buNone/>
            </a:pPr>
            <a:endParaRPr lang="da-DK" sz="2400">
              <a:latin typeface="Titillium Web" pitchFamily="2" charset="77"/>
            </a:endParaRPr>
          </a:p>
        </p:txBody>
      </p:sp>
      <p:sp>
        <p:nvSpPr>
          <p:cNvPr id="12" name="Pladsholder til tekst 12">
            <a:extLst>
              <a:ext uri="{FF2B5EF4-FFF2-40B4-BE49-F238E27FC236}">
                <a16:creationId xmlns:a16="http://schemas.microsoft.com/office/drawing/2014/main" id="{20B4065D-DDC6-0B44-84DD-F52E2D22BF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94733" y="3536594"/>
            <a:ext cx="2981282" cy="2450320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pPr marL="0" indent="0">
              <a:buNone/>
            </a:pPr>
            <a:endParaRPr lang="da-DK" sz="2400">
              <a:latin typeface="Titillium Web" pitchFamily="2" charset="77"/>
            </a:endParaRPr>
          </a:p>
        </p:txBody>
      </p:sp>
      <p:sp>
        <p:nvSpPr>
          <p:cNvPr id="14" name="Pladsholder til tekst 12">
            <a:extLst>
              <a:ext uri="{FF2B5EF4-FFF2-40B4-BE49-F238E27FC236}">
                <a16:creationId xmlns:a16="http://schemas.microsoft.com/office/drawing/2014/main" id="{BD48417D-D069-A840-B65D-3314D1730D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69466" y="3536594"/>
            <a:ext cx="2981282" cy="2450320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pPr marL="0" indent="0">
              <a:buNone/>
            </a:pPr>
            <a:endParaRPr lang="da-DK" sz="2400">
              <a:latin typeface="Titillium Web" pitchFamily="2" charset="77"/>
            </a:endParaRPr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E3794E-5587-F640-803B-03EC26BD3C0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725" y="1319213"/>
            <a:ext cx="2981325" cy="2001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  <p:sp>
        <p:nvSpPr>
          <p:cNvPr id="16" name="Pladsholder til billede 7">
            <a:extLst>
              <a:ext uri="{FF2B5EF4-FFF2-40B4-BE49-F238E27FC236}">
                <a16:creationId xmlns:a16="http://schemas.microsoft.com/office/drawing/2014/main" id="{5F176B73-086D-CB4A-A290-448647716E3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94690" y="1318770"/>
            <a:ext cx="2981325" cy="2001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  <p:sp>
        <p:nvSpPr>
          <p:cNvPr id="17" name="Pladsholder til billede 7">
            <a:extLst>
              <a:ext uri="{FF2B5EF4-FFF2-40B4-BE49-F238E27FC236}">
                <a16:creationId xmlns:a16="http://schemas.microsoft.com/office/drawing/2014/main" id="{B63AFF19-8770-D24E-9353-D3F5564CC56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68655" y="1318769"/>
            <a:ext cx="2981325" cy="2001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79091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re objekt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0AA7BF-64EE-4456-8D02-F0ED5159D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684C-9E45-4400-B98A-0D209CBB074A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FA85506-0A36-45B7-B815-B70D1CD4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B9C162E-D954-4A57-8E8B-9787E14C3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5FBC117E-FA31-45F8-98D4-3854F8E98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en titel</a:t>
            </a:r>
          </a:p>
        </p:txBody>
      </p:sp>
      <p:sp>
        <p:nvSpPr>
          <p:cNvPr id="7" name="Pladsholder til indhold 2">
            <a:extLst>
              <a:ext uri="{FF2B5EF4-FFF2-40B4-BE49-F238E27FC236}">
                <a16:creationId xmlns:a16="http://schemas.microsoft.com/office/drawing/2014/main" id="{0BD3378F-9BCF-4D95-B01F-3E68E73D221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824438"/>
            <a:ext cx="3074988" cy="2132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/>
              <a:t>Klik for at indsætte billede/objekt</a:t>
            </a:r>
          </a:p>
        </p:txBody>
      </p:sp>
      <p:sp>
        <p:nvSpPr>
          <p:cNvPr id="8" name="Pladsholder til indhold 2">
            <a:extLst>
              <a:ext uri="{FF2B5EF4-FFF2-40B4-BE49-F238E27FC236}">
                <a16:creationId xmlns:a16="http://schemas.microsoft.com/office/drawing/2014/main" id="{7C23025C-E785-47D6-9489-E6429FDF74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01410" y="2824438"/>
            <a:ext cx="3074988" cy="2132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/>
              <a:t>Klik for at indsætte billede/objekt</a:t>
            </a:r>
          </a:p>
        </p:txBody>
      </p:sp>
      <p:sp>
        <p:nvSpPr>
          <p:cNvPr id="9" name="Pladsholder til indhold 2">
            <a:extLst>
              <a:ext uri="{FF2B5EF4-FFF2-40B4-BE49-F238E27FC236}">
                <a16:creationId xmlns:a16="http://schemas.microsoft.com/office/drawing/2014/main" id="{2EB6D207-2F24-421A-BD7B-DF41486D26F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64620" y="2824438"/>
            <a:ext cx="3074988" cy="2132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/>
              <a:t>Klik for at indsætte billede/objekt</a:t>
            </a:r>
          </a:p>
        </p:txBody>
      </p:sp>
    </p:spTree>
    <p:extLst>
      <p:ext uri="{BB962C8B-B14F-4D97-AF65-F5344CB8AC3E}">
        <p14:creationId xmlns:p14="http://schemas.microsoft.com/office/powerpoint/2010/main" val="11670611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eks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D561F65-38D9-4BE2-8FB5-C5B152131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1CC3C-C094-4376-A926-ED159BF82E01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9510F9B-DBCE-458D-A331-AFE4F2287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7FAD9B8-8B56-4CEC-A7FE-4AFD70E1A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9AAB6922-A711-44F7-AD57-F52685AB3D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>
                <a:solidFill>
                  <a:schemeClr val="tx1"/>
                </a:solidFill>
                <a:latin typeface="Titillium Web SemiBold" panose="00000700000000000000" pitchFamily="2" charset="0"/>
              </a:defRPr>
            </a:lvl1pPr>
          </a:lstStyle>
          <a:p>
            <a:r>
              <a:rPr lang="da-DK"/>
              <a:t>Klik for at tilføje en titel</a:t>
            </a:r>
          </a:p>
        </p:txBody>
      </p:sp>
      <p:sp>
        <p:nvSpPr>
          <p:cNvPr id="10" name="Pladsholder til diagram 6">
            <a:extLst>
              <a:ext uri="{FF2B5EF4-FFF2-40B4-BE49-F238E27FC236}">
                <a16:creationId xmlns:a16="http://schemas.microsoft.com/office/drawing/2014/main" id="{514B7927-E930-4915-B644-57F2DA6EC6C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168666" y="2147888"/>
            <a:ext cx="4449763" cy="3424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r>
              <a:rPr lang="da-DK"/>
              <a:t>Klik på ikonet for at tilføje et diagram/grafik</a:t>
            </a:r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E874EBB8-5F58-42E3-BB19-B4595A8A13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5234" y="2147888"/>
            <a:ext cx="4545013" cy="3424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Titillium Web" panose="00000500000000000000" pitchFamily="2" charset="0"/>
              </a:defRPr>
            </a:lvl1pPr>
          </a:lstStyle>
          <a:p>
            <a:pPr lvl="0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10665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o billeder/grafik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E09C828-00D2-4E32-B8D2-BD6465AC9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4779B6-E0FB-4486-9532-DE71165B6EE0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DEB1D98-4BA0-43BF-8D1E-9D5ED4774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77EBF6D-735E-4A86-81FC-B286E764F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9">
            <a:extLst>
              <a:ext uri="{FF2B5EF4-FFF2-40B4-BE49-F238E27FC236}">
                <a16:creationId xmlns:a16="http://schemas.microsoft.com/office/drawing/2014/main" id="{25AD2A2B-8249-4313-8597-9AC9565273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9" y="326625"/>
            <a:ext cx="10637811" cy="109791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lang="da-DK" sz="3600" kern="1200" baseline="0" dirty="0">
                <a:solidFill>
                  <a:schemeClr val="tx1"/>
                </a:solidFill>
                <a:latin typeface="Titillium Web SemiBold" pitchFamily="2" charset="77"/>
                <a:ea typeface="+mn-ea"/>
                <a:cs typeface="+mn-cs"/>
              </a:defRPr>
            </a:lvl1pPr>
          </a:lstStyle>
          <a:p>
            <a:r>
              <a:rPr lang="da-DK"/>
              <a:t>Klik for at tilføje en titel</a:t>
            </a:r>
          </a:p>
        </p:txBody>
      </p:sp>
      <p:sp>
        <p:nvSpPr>
          <p:cNvPr id="7" name="Pladsholder til indhold 2">
            <a:extLst>
              <a:ext uri="{FF2B5EF4-FFF2-40B4-BE49-F238E27FC236}">
                <a16:creationId xmlns:a16="http://schemas.microsoft.com/office/drawing/2014/main" id="{A9672C23-94E6-47D8-9ED4-A05A7AD969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9240" y="2160201"/>
            <a:ext cx="4567993" cy="325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a-DK"/>
              <a:t>Her kan indsætte billede/objekt</a:t>
            </a:r>
          </a:p>
        </p:txBody>
      </p:sp>
      <p:sp>
        <p:nvSpPr>
          <p:cNvPr id="8" name="Pladsholder til indhold 2">
            <a:extLst>
              <a:ext uri="{FF2B5EF4-FFF2-40B4-BE49-F238E27FC236}">
                <a16:creationId xmlns:a16="http://schemas.microsoft.com/office/drawing/2014/main" id="{87F24556-3929-4927-A2E3-307C04AFAC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95230" y="2160200"/>
            <a:ext cx="4567992" cy="325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Her kan indsætte billede/objekt</a:t>
            </a:r>
          </a:p>
        </p:txBody>
      </p:sp>
    </p:spTree>
    <p:extLst>
      <p:ext uri="{BB962C8B-B14F-4D97-AF65-F5344CB8AC3E}">
        <p14:creationId xmlns:p14="http://schemas.microsoft.com/office/powerpoint/2010/main" val="41790307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tekst og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B52EE-B905-4E08-9FFC-541DAB4F7FFF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Pladsholder til tekst 12">
            <a:extLst>
              <a:ext uri="{FF2B5EF4-FFF2-40B4-BE49-F238E27FC236}">
                <a16:creationId xmlns:a16="http://schemas.microsoft.com/office/drawing/2014/main" id="{145B8318-5FE2-F74A-AEE2-45E561BE0D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907" y="2061882"/>
            <a:ext cx="6012328" cy="3617182"/>
          </a:xfrm>
          <a:prstGeom prst="rect">
            <a:avLst/>
          </a:prstGeom>
        </p:spPr>
        <p:txBody>
          <a:bodyPr/>
          <a:lstStyle>
            <a:lvl1pPr>
              <a:defRPr sz="2000" baseline="0">
                <a:latin typeface="Titillium Web" panose="00000500000000000000" pitchFamily="2" charset="0"/>
              </a:defRPr>
            </a:lvl1pPr>
          </a:lstStyle>
          <a:p>
            <a:pPr marL="0" indent="0">
              <a:buNone/>
            </a:pPr>
            <a:endParaRPr lang="da-DK" sz="2400">
              <a:latin typeface="Titillium Web" pitchFamily="2" charset="77"/>
            </a:endParaRPr>
          </a:p>
        </p:txBody>
      </p:sp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57C1B3C0-FEF5-4731-96F6-D23B2C4B675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96238" y="0"/>
            <a:ext cx="41957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tilføje et billede</a:t>
            </a:r>
          </a:p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0869AC6-A9BF-4658-BFFD-0F870EA438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1907" y="431987"/>
            <a:ext cx="7464425" cy="12065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da-DK" sz="3600" kern="1200" baseline="0" dirty="0" smtClean="0">
                <a:solidFill>
                  <a:schemeClr val="tx1"/>
                </a:solidFill>
                <a:latin typeface="Titillium Web SemiBold" pitchFamily="2" charset="77"/>
                <a:ea typeface="+mn-ea"/>
                <a:cs typeface="+mn-cs"/>
              </a:defRPr>
            </a:lvl1pPr>
          </a:lstStyle>
          <a:p>
            <a:pPr lvl="0"/>
            <a:r>
              <a:rPr lang="da-DK"/>
              <a:t>Klik for at tilføje en titel</a:t>
            </a:r>
          </a:p>
        </p:txBody>
      </p:sp>
    </p:spTree>
    <p:extLst>
      <p:ext uri="{BB962C8B-B14F-4D97-AF65-F5344CB8AC3E}">
        <p14:creationId xmlns:p14="http://schemas.microsoft.com/office/powerpoint/2010/main" val="22812559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Agenda </a:t>
            </a:r>
            <a:r>
              <a:rPr lang="da-DK" noProof="0" dirty="0" err="1"/>
              <a:t>title</a:t>
            </a:r>
            <a:endParaRPr lang="da-DK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add</a:t>
            </a:r>
            <a:r>
              <a:rPr lang="da-DK" noProof="0" dirty="0"/>
              <a:t> agenda poin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32ADB59-0A6D-8447-8C24-E839A525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3ED80-9D53-4EF4-8A99-5634A332D0FE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85780D1-3E0F-6F42-8EE7-13E041B6F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B958F1-2A8A-4445-A45B-49D583D7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7E027155-FDCA-4894-8555-542583F0C7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25613" y="1379538"/>
            <a:ext cx="8566150" cy="36496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i="0"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da-DK"/>
              <a:t>Her kan du indsætte et citat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4EB22B33-1E0E-49DC-8129-E37939C8B661}"/>
              </a:ext>
            </a:extLst>
          </p:cNvPr>
          <p:cNvSpPr txBox="1"/>
          <p:nvPr userDrawn="1"/>
        </p:nvSpPr>
        <p:spPr>
          <a:xfrm>
            <a:off x="5627479" y="5084196"/>
            <a:ext cx="4664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a-DK" sz="2400">
                <a:latin typeface="Titillium Web" panose="00000500000000000000" pitchFamily="2" charset="0"/>
              </a:rPr>
              <a:t>– Husk kilde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4ADCEF0-6131-47F9-98FE-4ACA7E0C8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77055" y="-332078"/>
            <a:ext cx="4847965" cy="4847965"/>
          </a:xfrm>
          <a:prstGeom prst="rect">
            <a:avLst/>
          </a:prstGeom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43562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FCBD5698-E452-4437-955A-7B08EE299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F2288-556E-4AF7-9966-4D50964431EB}" type="datetime1">
              <a:rPr lang="da-DK" smtClean="0"/>
              <a:t>13-01-2023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23D75EE-91A1-44C2-8173-B468FD90D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295E126-6E91-4EF8-8E4E-8EBA3DB3F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FF2B4A3-E4C4-4A42-97AD-FFF21BC47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268" y="1638113"/>
            <a:ext cx="8327465" cy="3119157"/>
          </a:xfrm>
          <a:prstGeom prst="rect">
            <a:avLst/>
          </a:prstGeom>
        </p:spPr>
        <p:txBody>
          <a:bodyPr/>
          <a:lstStyle>
            <a:lvl1pPr algn="l">
              <a:defRPr sz="5400" b="1">
                <a:solidFill>
                  <a:schemeClr val="tx1"/>
                </a:solidFill>
                <a:latin typeface="Titillium Web SemiBold" panose="00000700000000000000" pitchFamily="2" charset="0"/>
                <a:ea typeface="Source Sans Pro SemiBold" panose="020B0603030403020204" pitchFamily="34" charset="0"/>
              </a:defRPr>
            </a:lvl1pPr>
          </a:lstStyle>
          <a:p>
            <a:r>
              <a:rPr lang="da-DK"/>
              <a:t>HER KAN DU INDSÆTTE ET MARKANT STATEMENT.</a:t>
            </a:r>
          </a:p>
        </p:txBody>
      </p:sp>
    </p:spTree>
    <p:extLst>
      <p:ext uri="{BB962C8B-B14F-4D97-AF65-F5344CB8AC3E}">
        <p14:creationId xmlns:p14="http://schemas.microsoft.com/office/powerpoint/2010/main" val="2964467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16.jp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8.jp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7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9.jp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7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20.jp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7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image" Target="../media/image16.jpg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21.emf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700" dirty="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Level 1 (</a:t>
            </a:r>
            <a:r>
              <a:rPr lang="da-DK" noProof="0" dirty="0" err="1"/>
              <a:t>Enter+TAB</a:t>
            </a:r>
            <a:r>
              <a:rPr lang="da-DK" noProof="0" dirty="0"/>
              <a:t> for </a:t>
            </a:r>
            <a:r>
              <a:rPr lang="da-DK" noProof="0" dirty="0" err="1"/>
              <a:t>next</a:t>
            </a:r>
            <a:r>
              <a:rPr lang="da-DK" noProof="0" dirty="0"/>
              <a:t>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r>
              <a:rPr lang="da-DK" noProof="0" dirty="0"/>
              <a:t>, SHIFT+TAB to go back in </a:t>
            </a:r>
            <a:r>
              <a:rPr lang="da-DK" noProof="0" dirty="0" err="1"/>
              <a:t>levels</a:t>
            </a:r>
            <a:r>
              <a:rPr lang="da-DK" noProof="0" dirty="0"/>
              <a:t>)</a:t>
            </a:r>
          </a:p>
          <a:p>
            <a:pPr lvl="1"/>
            <a:r>
              <a:rPr lang="da-DK" noProof="0" dirty="0"/>
              <a:t>Level 2</a:t>
            </a:r>
          </a:p>
          <a:p>
            <a:pPr lvl="2"/>
            <a:r>
              <a:rPr lang="da-DK" noProof="0" dirty="0"/>
              <a:t>Level 3</a:t>
            </a:r>
          </a:p>
          <a:p>
            <a:pPr lvl="3"/>
            <a:r>
              <a:rPr lang="da-DK" noProof="0" dirty="0"/>
              <a:t>Level 4</a:t>
            </a:r>
          </a:p>
          <a:p>
            <a:pPr lvl="4"/>
            <a:r>
              <a:rPr lang="da-DK" noProof="0" dirty="0"/>
              <a:t>Level 5</a:t>
            </a:r>
          </a:p>
          <a:p>
            <a:pPr lvl="5"/>
            <a:r>
              <a:rPr lang="da-DK" noProof="0" dirty="0"/>
              <a:t>Level 6</a:t>
            </a:r>
          </a:p>
          <a:p>
            <a:pPr lvl="6"/>
            <a:r>
              <a:rPr lang="da-DK" noProof="0" dirty="0"/>
              <a:t>Level 7</a:t>
            </a:r>
          </a:p>
          <a:p>
            <a:pPr lvl="7"/>
            <a:r>
              <a:rPr lang="da-DK" noProof="0" dirty="0"/>
              <a:t>Level 8</a:t>
            </a:r>
          </a:p>
          <a:p>
            <a:pPr lvl="8"/>
            <a:r>
              <a:rPr lang="da-DK" noProof="0" dirty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da-DK" smtClean="0"/>
              <a:t>13-01-2023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7340" userDrawn="1">
          <p15:clr>
            <a:srgbClr val="F26B43"/>
          </p15:clr>
        </p15:guide>
        <p15:guide id="3" orient="horz" pos="340" userDrawn="1">
          <p15:clr>
            <a:srgbClr val="F26B43"/>
          </p15:clr>
        </p15:guide>
        <p15:guide id="4" orient="horz" pos="1065" userDrawn="1">
          <p15:clr>
            <a:srgbClr val="F26B43"/>
          </p15:clr>
        </p15:guide>
        <p15:guide id="5" orient="horz" pos="1133" userDrawn="1">
          <p15:clr>
            <a:srgbClr val="F26B43"/>
          </p15:clr>
        </p15:guide>
        <p15:guide id="6" orient="horz" pos="396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4147A89-596B-6240-B8F7-4BE5592D8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C9BF79-D0E7-054B-B60D-759291FF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2141C41-EC43-EB43-809F-BBAB43CFCF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1768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A727DF2-0C26-804F-9D99-A8E31617AD9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7" name="Pladsholder til slidenummer 4">
            <a:extLst>
              <a:ext uri="{FF2B5EF4-FFF2-40B4-BE49-F238E27FC236}">
                <a16:creationId xmlns:a16="http://schemas.microsoft.com/office/drawing/2014/main" id="{6371D657-CCD0-AE7D-6637-CFED3AB370B9}"/>
              </a:ext>
            </a:extLst>
          </p:cNvPr>
          <p:cNvSpPr txBox="1">
            <a:spLocks/>
          </p:cNvSpPr>
          <p:nvPr userDrawn="1"/>
        </p:nvSpPr>
        <p:spPr>
          <a:xfrm>
            <a:off x="239333" y="107756"/>
            <a:ext cx="4432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6C7EA85-D007-2649-ADD5-2985A6BCD4D5}" type="slidenum">
              <a:rPr lang="da-DK" smtClean="0"/>
              <a:pPr algn="l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80668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</p:sldLayoutIdLst>
  <p:txStyles>
    <p:titleStyle>
      <a:lvl1pPr marL="0" marR="0" indent="0" algn="ctr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6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B99BFF82-5E55-9849-81D6-89A316A2B59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4147A89-596B-6240-B8F7-4BE5592D8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C9BF79-D0E7-054B-B60D-759291FF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2141C41-EC43-EB43-809F-BBAB43CFCF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1768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Pladsholder til slidenummer 4">
            <a:extLst>
              <a:ext uri="{FF2B5EF4-FFF2-40B4-BE49-F238E27FC236}">
                <a16:creationId xmlns:a16="http://schemas.microsoft.com/office/drawing/2014/main" id="{86F501F4-8031-67F5-64AC-5DE47918D769}"/>
              </a:ext>
            </a:extLst>
          </p:cNvPr>
          <p:cNvSpPr txBox="1">
            <a:spLocks/>
          </p:cNvSpPr>
          <p:nvPr userDrawn="1"/>
        </p:nvSpPr>
        <p:spPr>
          <a:xfrm>
            <a:off x="239333" y="107756"/>
            <a:ext cx="4432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6C7EA85-D007-2649-ADD5-2985A6BCD4D5}" type="slidenum">
              <a:rPr lang="da-DK" smtClean="0"/>
              <a:pPr algn="l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92806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</p:sldLayoutIdLst>
  <p:txStyles>
    <p:titleStyle>
      <a:lvl1pPr marL="0" marR="0" indent="0" algn="ctr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6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4147A89-596B-6240-B8F7-4BE5592D8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C9BF79-D0E7-054B-B60D-759291FF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2141C41-EC43-EB43-809F-BBAB43CFCF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1768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FA0D76D-9625-6D41-BEB2-748F310059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8" name="Pladsholder til slidenummer 4">
            <a:extLst>
              <a:ext uri="{FF2B5EF4-FFF2-40B4-BE49-F238E27FC236}">
                <a16:creationId xmlns:a16="http://schemas.microsoft.com/office/drawing/2014/main" id="{728D6A4D-E731-8A68-7942-97E2A84EFA64}"/>
              </a:ext>
            </a:extLst>
          </p:cNvPr>
          <p:cNvSpPr txBox="1">
            <a:spLocks/>
          </p:cNvSpPr>
          <p:nvPr userDrawn="1"/>
        </p:nvSpPr>
        <p:spPr>
          <a:xfrm>
            <a:off x="239333" y="107756"/>
            <a:ext cx="4432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6C7EA85-D007-2649-ADD5-2985A6BCD4D5}" type="slidenum">
              <a:rPr lang="da-DK" smtClean="0"/>
              <a:pPr algn="l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4706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</p:sldLayoutIdLst>
  <p:txStyles>
    <p:titleStyle>
      <a:lvl1pPr marL="0" marR="0" indent="0" algn="ctr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6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4147A89-596B-6240-B8F7-4BE5592D8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DD1D3-4FE4-5C4B-A8A7-93B004576504}" type="datetimeFigureOut">
              <a:rPr lang="da-DK" smtClean="0"/>
              <a:t>13-01-2023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C9BF79-D0E7-054B-B60D-759291FF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2141C41-EC43-EB43-809F-BBAB43CFCF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1768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1A5157EB-A11D-344E-BA49-624BF457FC1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7" name="Pladsholder til slidenummer 4">
            <a:extLst>
              <a:ext uri="{FF2B5EF4-FFF2-40B4-BE49-F238E27FC236}">
                <a16:creationId xmlns:a16="http://schemas.microsoft.com/office/drawing/2014/main" id="{C7CFEACA-9A79-8152-0B01-D43DDA51E1EF}"/>
              </a:ext>
            </a:extLst>
          </p:cNvPr>
          <p:cNvSpPr txBox="1">
            <a:spLocks/>
          </p:cNvSpPr>
          <p:nvPr userDrawn="1"/>
        </p:nvSpPr>
        <p:spPr>
          <a:xfrm>
            <a:off x="239333" y="107756"/>
            <a:ext cx="4432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6C7EA85-D007-2649-ADD5-2985A6BCD4D5}" type="slidenum">
              <a:rPr lang="da-DK" smtClean="0"/>
              <a:pPr algn="l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650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txStyles>
    <p:titleStyle>
      <a:lvl1pPr marL="0" marR="0" indent="0" algn="ctr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6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DEF5BF4-3332-4B5B-8883-DAF6DAC45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15157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9" imgH="358" progId="TCLayout.ActiveDocument.1">
                  <p:embed/>
                </p:oleObj>
              </mc:Choice>
              <mc:Fallback>
                <p:oleObj name="think-cell Slide" r:id="rId15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DEF5BF4-3332-4B5B-8883-DAF6DAC45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CA727DF2-0C26-804F-9D99-A8E31617AD9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4147A89-596B-6240-B8F7-4BE5592D83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A62C2D-599B-4703-99DE-6CBE1EE7D0AD}" type="datetime1">
              <a:rPr lang="da-DK" smtClean="0"/>
              <a:t>13-01-2023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C9BF79-D0E7-054B-B60D-759291FF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2141C41-EC43-EB43-809F-BBAB43CFCF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316" y="138155"/>
            <a:ext cx="486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7EA85-D007-2649-ADD5-2985A6BCD4D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309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</p:sldLayoutIdLst>
  <p:hf hdr="0" ftr="0" dt="0"/>
  <p:txStyles>
    <p:titleStyle>
      <a:lvl1pPr marL="0" marR="0" indent="0" algn="ctr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6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9FCCFE-889F-4525-B43F-166C7E08A4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88C07D9-5F60-4A16-8114-0718861E24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>
            <a:normAutofit/>
          </a:bodyPr>
          <a:lstStyle/>
          <a:p>
            <a:r>
              <a:rPr lang="da-DK" dirty="0"/>
              <a:t>NÆSTE MØDE I BORGERPANELET</a:t>
            </a:r>
          </a:p>
        </p:txBody>
      </p:sp>
      <p:sp>
        <p:nvSpPr>
          <p:cNvPr id="25" name="Subtitle 4">
            <a:extLst>
              <a:ext uri="{FF2B5EF4-FFF2-40B4-BE49-F238E27FC236}">
                <a16:creationId xmlns:a16="http://schemas.microsoft.com/office/drawing/2014/main" id="{2C46AB37-27FB-5827-6E5E-AEFFE0DFCF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0. JANUAR 2023 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EE286AA6-761C-4AB7-B859-660D08C1F07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" r="17"/>
          <a:stretch/>
        </p:blipFill>
        <p:spPr/>
      </p:pic>
    </p:spTree>
    <p:extLst>
      <p:ext uri="{BB962C8B-B14F-4D97-AF65-F5344CB8AC3E}">
        <p14:creationId xmlns:p14="http://schemas.microsoft.com/office/powerpoint/2010/main" val="1914974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6"/>
          <p:cNvSpPr txBox="1"/>
          <p:nvPr/>
        </p:nvSpPr>
        <p:spPr>
          <a:xfrm>
            <a:off x="4017119" y="1728300"/>
            <a:ext cx="2365200" cy="2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267">
                <a:solidFill>
                  <a:schemeClr val="accent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2015</a:t>
            </a:r>
            <a:endParaRPr sz="2267">
              <a:solidFill>
                <a:schemeClr val="accent3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CB16AA-1869-4C0E-A036-808337C1A3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3" name="Google Shape;73;p16"/>
          <p:cNvSpPr txBox="1"/>
          <p:nvPr/>
        </p:nvSpPr>
        <p:spPr>
          <a:xfrm>
            <a:off x="4017137" y="2245679"/>
            <a:ext cx="2365200" cy="7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algn="ctr"/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Gennemgang af hvordan den ansøgte havneudvidelse påvirker havmiljøet, og om havnen som virksomhed. Mødet afsluttes med en sejltur.</a:t>
            </a:r>
            <a:endParaRPr sz="1100" dirty="0">
              <a:latin typeface="Avenir Next LT Pro" panose="020B050402020202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74" name="Google Shape;74;p16"/>
          <p:cNvSpPr txBox="1"/>
          <p:nvPr/>
        </p:nvSpPr>
        <p:spPr>
          <a:xfrm>
            <a:off x="8926419" y="1671963"/>
            <a:ext cx="2365200" cy="2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26. januar</a:t>
            </a:r>
            <a:b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</a:br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fremlæggelse og dialog med byrådet</a:t>
            </a:r>
            <a:b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da-DK" sz="1200" b="1" dirty="0">
              <a:solidFill>
                <a:schemeClr val="tx1">
                  <a:lumMod val="75000"/>
                  <a:lumOff val="25000"/>
                </a:schemeClr>
              </a:solidFill>
              <a:latin typeface="Avenir Next LT Pro" panose="020B0504020202020204" pitchFamily="34" charset="0"/>
              <a:ea typeface="Fira Sans Extra Condensed Medium"/>
              <a:cs typeface="Fira Sans Extra Condensed Medium"/>
              <a:sym typeface="Fira Sans Extra Condensed Medium"/>
            </a:endParaRPr>
          </a:p>
          <a:p>
            <a:pPr algn="ctr"/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Avenir Next LT Pro" panose="020B0504020202020204" pitchFamily="34" charset="0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75" name="Google Shape;75;p16"/>
          <p:cNvSpPr txBox="1"/>
          <p:nvPr/>
        </p:nvSpPr>
        <p:spPr>
          <a:xfrm>
            <a:off x="8928286" y="2245667"/>
            <a:ext cx="2367200" cy="7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algn="ctr"/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Dialog mellem borgerpanelet og byrådet. Til dette møde bliver borgere og politikere inddelt </a:t>
            </a:r>
            <a:r>
              <a:rPr lang="da-DK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I</a:t>
            </a:r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 mindre grupper, hvor du som borger får lov til at læse dit brev op for politikerne.</a:t>
            </a:r>
            <a:endParaRPr sz="1100" dirty="0">
              <a:latin typeface="Avenir Next LT Pro" panose="020B050402020202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76" name="Google Shape;76;p16"/>
          <p:cNvSpPr txBox="1"/>
          <p:nvPr/>
        </p:nvSpPr>
        <p:spPr>
          <a:xfrm>
            <a:off x="6473319" y="4514867"/>
            <a:ext cx="2365200" cy="2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10. Januar</a:t>
            </a:r>
            <a:b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</a:br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møde i borgerpanelet</a:t>
            </a:r>
          </a:p>
        </p:txBody>
      </p:sp>
      <p:sp>
        <p:nvSpPr>
          <p:cNvPr id="77" name="Google Shape;77;p16"/>
          <p:cNvSpPr txBox="1"/>
          <p:nvPr/>
        </p:nvSpPr>
        <p:spPr>
          <a:xfrm>
            <a:off x="6474437" y="4789167"/>
            <a:ext cx="2365200" cy="7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På mødet arbejder panelet med at formulere et indiviudelt brev til byrådet, som går på overvejelserne omkring </a:t>
            </a:r>
            <a:r>
              <a:rPr lang="en" sz="1100" i="1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fordele</a:t>
            </a:r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 og </a:t>
            </a:r>
            <a:r>
              <a:rPr lang="en" sz="1100" i="1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ulemper</a:t>
            </a:r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 ved en udvidelse af Aarhus havn.</a:t>
            </a:r>
            <a:endParaRPr sz="1100" dirty="0">
              <a:latin typeface="Avenir Next LT Pro" panose="020B050402020202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78" name="Google Shape;78;p16"/>
          <p:cNvSpPr txBox="1"/>
          <p:nvPr/>
        </p:nvSpPr>
        <p:spPr>
          <a:xfrm>
            <a:off x="1561486" y="4510733"/>
            <a:ext cx="2365200" cy="2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10. </a:t>
            </a:r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n</a:t>
            </a:r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ovember</a:t>
            </a:r>
            <a:b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</a:br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møde </a:t>
            </a:r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i</a:t>
            </a:r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 borgerpanelet</a:t>
            </a:r>
            <a:endParaRPr sz="1200" b="1" dirty="0">
              <a:solidFill>
                <a:schemeClr val="tx1">
                  <a:lumMod val="75000"/>
                  <a:lumOff val="25000"/>
                </a:schemeClr>
              </a:solidFill>
              <a:latin typeface="Avenir Next LT Pro" panose="020B0504020202020204" pitchFamily="34" charset="0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1559353" y="4789167"/>
            <a:ext cx="2365200" cy="7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På mødet gennemgår vi  debatten fra den netop gennemførte borgerkoncerence. Herefter afholder vi en fælles dialog om de forskellige emner og indlæg.</a:t>
            </a:r>
            <a:endParaRPr sz="1100" dirty="0">
              <a:latin typeface="Avenir Next LT Pro" panose="020B050402020202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0" name="Google Shape;80;p16"/>
          <p:cNvGrpSpPr/>
          <p:nvPr/>
        </p:nvGrpSpPr>
        <p:grpSpPr>
          <a:xfrm>
            <a:off x="2032334" y="2204247"/>
            <a:ext cx="1417752" cy="1417827"/>
            <a:chOff x="1298661" y="1653185"/>
            <a:chExt cx="1063314" cy="1063370"/>
          </a:xfrm>
        </p:grpSpPr>
        <p:sp>
          <p:nvSpPr>
            <p:cNvPr id="81" name="Google Shape;81;p16"/>
            <p:cNvSpPr/>
            <p:nvPr/>
          </p:nvSpPr>
          <p:spPr>
            <a:xfrm>
              <a:off x="1298661" y="1653185"/>
              <a:ext cx="1063314" cy="1063370"/>
            </a:xfrm>
            <a:custGeom>
              <a:avLst/>
              <a:gdLst/>
              <a:ahLst/>
              <a:cxnLst/>
              <a:rect l="l" t="t" r="r" b="b"/>
              <a:pathLst>
                <a:path w="19209" h="19210" extrusionOk="0">
                  <a:moveTo>
                    <a:pt x="19209" y="9598"/>
                  </a:moveTo>
                  <a:cubicBezTo>
                    <a:pt x="19209" y="14905"/>
                    <a:pt x="14905" y="19209"/>
                    <a:pt x="9598" y="19209"/>
                  </a:cubicBezTo>
                  <a:cubicBezTo>
                    <a:pt x="4291" y="19209"/>
                    <a:pt x="0" y="14905"/>
                    <a:pt x="0" y="9598"/>
                  </a:cubicBezTo>
                  <a:cubicBezTo>
                    <a:pt x="0" y="4291"/>
                    <a:pt x="4291" y="1"/>
                    <a:pt x="9598" y="1"/>
                  </a:cubicBezTo>
                  <a:cubicBezTo>
                    <a:pt x="14905" y="1"/>
                    <a:pt x="19209" y="4291"/>
                    <a:pt x="19209" y="959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>
              <a:outerShdw blurRad="42863" dist="38100" dir="3300000" algn="bl" rotWithShape="0">
                <a:schemeClr val="dk2">
                  <a:alpha val="34000"/>
                </a:scheme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82" name="Google Shape;82;p16"/>
            <p:cNvSpPr/>
            <p:nvPr/>
          </p:nvSpPr>
          <p:spPr>
            <a:xfrm>
              <a:off x="1371731" y="1726254"/>
              <a:ext cx="916457" cy="916457"/>
            </a:xfrm>
            <a:custGeom>
              <a:avLst/>
              <a:gdLst/>
              <a:ahLst/>
              <a:cxnLst/>
              <a:rect l="l" t="t" r="r" b="b"/>
              <a:pathLst>
                <a:path w="16556" h="16556" extrusionOk="0">
                  <a:moveTo>
                    <a:pt x="8278" y="1"/>
                  </a:moveTo>
                  <a:cubicBezTo>
                    <a:pt x="3710" y="1"/>
                    <a:pt x="0" y="3710"/>
                    <a:pt x="0" y="8278"/>
                  </a:cubicBezTo>
                  <a:cubicBezTo>
                    <a:pt x="0" y="12846"/>
                    <a:pt x="3710" y="16556"/>
                    <a:pt x="8278" y="16556"/>
                  </a:cubicBezTo>
                  <a:cubicBezTo>
                    <a:pt x="12846" y="16556"/>
                    <a:pt x="16555" y="12846"/>
                    <a:pt x="16555" y="8278"/>
                  </a:cubicBezTo>
                  <a:cubicBezTo>
                    <a:pt x="16555" y="3710"/>
                    <a:pt x="12846" y="1"/>
                    <a:pt x="827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</p:grpSp>
      <p:grpSp>
        <p:nvGrpSpPr>
          <p:cNvPr id="84" name="Google Shape;84;p16"/>
          <p:cNvGrpSpPr/>
          <p:nvPr/>
        </p:nvGrpSpPr>
        <p:grpSpPr>
          <a:xfrm>
            <a:off x="6948402" y="2204247"/>
            <a:ext cx="1417827" cy="1417827"/>
            <a:chOff x="4985712" y="1653185"/>
            <a:chExt cx="1063370" cy="1063370"/>
          </a:xfrm>
        </p:grpSpPr>
        <p:sp>
          <p:nvSpPr>
            <p:cNvPr id="85" name="Google Shape;85;p16"/>
            <p:cNvSpPr/>
            <p:nvPr/>
          </p:nvSpPr>
          <p:spPr>
            <a:xfrm>
              <a:off x="4985712" y="1653185"/>
              <a:ext cx="1063370" cy="1063370"/>
            </a:xfrm>
            <a:custGeom>
              <a:avLst/>
              <a:gdLst/>
              <a:ahLst/>
              <a:cxnLst/>
              <a:rect l="l" t="t" r="r" b="b"/>
              <a:pathLst>
                <a:path w="19210" h="19210" extrusionOk="0">
                  <a:moveTo>
                    <a:pt x="19209" y="9598"/>
                  </a:moveTo>
                  <a:cubicBezTo>
                    <a:pt x="19209" y="14905"/>
                    <a:pt x="14905" y="19209"/>
                    <a:pt x="9611" y="19209"/>
                  </a:cubicBezTo>
                  <a:cubicBezTo>
                    <a:pt x="4304" y="19209"/>
                    <a:pt x="1" y="14905"/>
                    <a:pt x="1" y="9598"/>
                  </a:cubicBezTo>
                  <a:cubicBezTo>
                    <a:pt x="1" y="4291"/>
                    <a:pt x="4304" y="1"/>
                    <a:pt x="9611" y="1"/>
                  </a:cubicBezTo>
                  <a:cubicBezTo>
                    <a:pt x="14905" y="1"/>
                    <a:pt x="19209" y="4291"/>
                    <a:pt x="19209" y="959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>
              <a:outerShdw blurRad="42863" dist="38100" dir="3300000" algn="bl" rotWithShape="0">
                <a:schemeClr val="dk2">
                  <a:alpha val="34000"/>
                </a:scheme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86" name="Google Shape;86;p16"/>
            <p:cNvSpPr/>
            <p:nvPr/>
          </p:nvSpPr>
          <p:spPr>
            <a:xfrm>
              <a:off x="5059556" y="1726254"/>
              <a:ext cx="915682" cy="916457"/>
            </a:xfrm>
            <a:custGeom>
              <a:avLst/>
              <a:gdLst/>
              <a:ahLst/>
              <a:cxnLst/>
              <a:rect l="l" t="t" r="r" b="b"/>
              <a:pathLst>
                <a:path w="16542" h="16556" extrusionOk="0">
                  <a:moveTo>
                    <a:pt x="8277" y="1"/>
                  </a:moveTo>
                  <a:cubicBezTo>
                    <a:pt x="3696" y="1"/>
                    <a:pt x="0" y="3710"/>
                    <a:pt x="0" y="8278"/>
                  </a:cubicBezTo>
                  <a:cubicBezTo>
                    <a:pt x="0" y="12846"/>
                    <a:pt x="3696" y="16556"/>
                    <a:pt x="8277" y="16556"/>
                  </a:cubicBezTo>
                  <a:cubicBezTo>
                    <a:pt x="12845" y="16556"/>
                    <a:pt x="16542" y="12846"/>
                    <a:pt x="16542" y="8278"/>
                  </a:cubicBezTo>
                  <a:cubicBezTo>
                    <a:pt x="16542" y="3710"/>
                    <a:pt x="12845" y="1"/>
                    <a:pt x="82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</p:grpSp>
      <p:grpSp>
        <p:nvGrpSpPr>
          <p:cNvPr id="88" name="Google Shape;88;p16"/>
          <p:cNvGrpSpPr/>
          <p:nvPr/>
        </p:nvGrpSpPr>
        <p:grpSpPr>
          <a:xfrm>
            <a:off x="9402883" y="3851984"/>
            <a:ext cx="1417752" cy="1417752"/>
            <a:chOff x="6826573" y="2888988"/>
            <a:chExt cx="1063314" cy="1063314"/>
          </a:xfrm>
        </p:grpSpPr>
        <p:sp>
          <p:nvSpPr>
            <p:cNvPr id="89" name="Google Shape;89;p16"/>
            <p:cNvSpPr/>
            <p:nvPr/>
          </p:nvSpPr>
          <p:spPr>
            <a:xfrm>
              <a:off x="6826573" y="2888988"/>
              <a:ext cx="1063314" cy="1063314"/>
            </a:xfrm>
            <a:custGeom>
              <a:avLst/>
              <a:gdLst/>
              <a:ahLst/>
              <a:cxnLst/>
              <a:rect l="l" t="t" r="r" b="b"/>
              <a:pathLst>
                <a:path w="19209" h="19209" extrusionOk="0">
                  <a:moveTo>
                    <a:pt x="19209" y="9598"/>
                  </a:moveTo>
                  <a:cubicBezTo>
                    <a:pt x="19209" y="14905"/>
                    <a:pt x="14905" y="19209"/>
                    <a:pt x="9598" y="19209"/>
                  </a:cubicBezTo>
                  <a:cubicBezTo>
                    <a:pt x="4304" y="19209"/>
                    <a:pt x="0" y="14905"/>
                    <a:pt x="0" y="9598"/>
                  </a:cubicBezTo>
                  <a:cubicBezTo>
                    <a:pt x="0" y="4291"/>
                    <a:pt x="4304" y="0"/>
                    <a:pt x="9598" y="0"/>
                  </a:cubicBezTo>
                  <a:cubicBezTo>
                    <a:pt x="14905" y="0"/>
                    <a:pt x="19209" y="4291"/>
                    <a:pt x="19209" y="959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>
              <a:outerShdw blurRad="42863" dist="38100" dir="3300000" algn="bl" rotWithShape="0">
                <a:schemeClr val="dk2">
                  <a:alpha val="34000"/>
                </a:scheme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90" name="Google Shape;90;p16"/>
            <p:cNvSpPr/>
            <p:nvPr/>
          </p:nvSpPr>
          <p:spPr>
            <a:xfrm>
              <a:off x="6900362" y="2962057"/>
              <a:ext cx="915738" cy="916457"/>
            </a:xfrm>
            <a:custGeom>
              <a:avLst/>
              <a:gdLst/>
              <a:ahLst/>
              <a:cxnLst/>
              <a:rect l="l" t="t" r="r" b="b"/>
              <a:pathLst>
                <a:path w="16543" h="16556" extrusionOk="0">
                  <a:moveTo>
                    <a:pt x="8265" y="0"/>
                  </a:moveTo>
                  <a:cubicBezTo>
                    <a:pt x="3697" y="0"/>
                    <a:pt x="1" y="3710"/>
                    <a:pt x="1" y="8278"/>
                  </a:cubicBezTo>
                  <a:cubicBezTo>
                    <a:pt x="1" y="12845"/>
                    <a:pt x="3697" y="16555"/>
                    <a:pt x="8265" y="16555"/>
                  </a:cubicBezTo>
                  <a:cubicBezTo>
                    <a:pt x="12846" y="16555"/>
                    <a:pt x="16542" y="12845"/>
                    <a:pt x="16542" y="8278"/>
                  </a:cubicBezTo>
                  <a:cubicBezTo>
                    <a:pt x="16542" y="3710"/>
                    <a:pt x="12846" y="0"/>
                    <a:pt x="826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</p:grpSp>
      <p:grpSp>
        <p:nvGrpSpPr>
          <p:cNvPr id="91" name="Google Shape;91;p16"/>
          <p:cNvGrpSpPr/>
          <p:nvPr/>
        </p:nvGrpSpPr>
        <p:grpSpPr>
          <a:xfrm>
            <a:off x="871020" y="3151341"/>
            <a:ext cx="11051404" cy="1081643"/>
            <a:chOff x="427675" y="2363506"/>
            <a:chExt cx="8288553" cy="811232"/>
          </a:xfrm>
        </p:grpSpPr>
        <p:sp>
          <p:nvSpPr>
            <p:cNvPr id="92" name="Google Shape;92;p16"/>
            <p:cNvSpPr/>
            <p:nvPr/>
          </p:nvSpPr>
          <p:spPr>
            <a:xfrm>
              <a:off x="427675" y="2430759"/>
              <a:ext cx="8288553" cy="675995"/>
            </a:xfrm>
            <a:custGeom>
              <a:avLst/>
              <a:gdLst/>
              <a:ahLst/>
              <a:cxnLst/>
              <a:rect l="l" t="t" r="r" b="b"/>
              <a:pathLst>
                <a:path w="108188" h="12212" extrusionOk="0">
                  <a:moveTo>
                    <a:pt x="107422" y="9070"/>
                  </a:moveTo>
                  <a:cubicBezTo>
                    <a:pt x="105362" y="8146"/>
                    <a:pt x="103805" y="6799"/>
                    <a:pt x="102155" y="5360"/>
                  </a:cubicBezTo>
                  <a:cubicBezTo>
                    <a:pt x="99118" y="2720"/>
                    <a:pt x="95976" y="0"/>
                    <a:pt x="89705" y="0"/>
                  </a:cubicBezTo>
                  <a:cubicBezTo>
                    <a:pt x="83435" y="0"/>
                    <a:pt x="80293" y="2733"/>
                    <a:pt x="77243" y="5360"/>
                  </a:cubicBezTo>
                  <a:cubicBezTo>
                    <a:pt x="74352" y="7868"/>
                    <a:pt x="71619" y="10231"/>
                    <a:pt x="66088" y="10231"/>
                  </a:cubicBezTo>
                  <a:cubicBezTo>
                    <a:pt x="60556" y="10231"/>
                    <a:pt x="57837" y="7868"/>
                    <a:pt x="54932" y="5360"/>
                  </a:cubicBezTo>
                  <a:cubicBezTo>
                    <a:pt x="51896" y="2720"/>
                    <a:pt x="48754" y="0"/>
                    <a:pt x="42483" y="0"/>
                  </a:cubicBezTo>
                  <a:cubicBezTo>
                    <a:pt x="36212" y="0"/>
                    <a:pt x="33070" y="2720"/>
                    <a:pt x="30034" y="5360"/>
                  </a:cubicBezTo>
                  <a:cubicBezTo>
                    <a:pt x="27143" y="7868"/>
                    <a:pt x="24410" y="10231"/>
                    <a:pt x="18879" y="10231"/>
                  </a:cubicBezTo>
                  <a:cubicBezTo>
                    <a:pt x="13347" y="10231"/>
                    <a:pt x="10614" y="7868"/>
                    <a:pt x="7723" y="5360"/>
                  </a:cubicBezTo>
                  <a:cubicBezTo>
                    <a:pt x="6033" y="3895"/>
                    <a:pt x="4291" y="2390"/>
                    <a:pt x="1967" y="1347"/>
                  </a:cubicBezTo>
                  <a:cubicBezTo>
                    <a:pt x="779" y="845"/>
                    <a:pt x="0" y="2588"/>
                    <a:pt x="1149" y="3142"/>
                  </a:cubicBezTo>
                  <a:cubicBezTo>
                    <a:pt x="3208" y="4066"/>
                    <a:pt x="4766" y="5426"/>
                    <a:pt x="6416" y="6852"/>
                  </a:cubicBezTo>
                  <a:cubicBezTo>
                    <a:pt x="9466" y="9492"/>
                    <a:pt x="12608" y="12212"/>
                    <a:pt x="18879" y="12212"/>
                  </a:cubicBezTo>
                  <a:cubicBezTo>
                    <a:pt x="25149" y="12212"/>
                    <a:pt x="28278" y="9492"/>
                    <a:pt x="31328" y="6852"/>
                  </a:cubicBezTo>
                  <a:cubicBezTo>
                    <a:pt x="34219" y="4344"/>
                    <a:pt x="36952" y="1980"/>
                    <a:pt x="42483" y="1980"/>
                  </a:cubicBezTo>
                  <a:cubicBezTo>
                    <a:pt x="48015" y="1980"/>
                    <a:pt x="50747" y="4344"/>
                    <a:pt x="53639" y="6852"/>
                  </a:cubicBezTo>
                  <a:cubicBezTo>
                    <a:pt x="56675" y="9492"/>
                    <a:pt x="59817" y="12212"/>
                    <a:pt x="66088" y="12212"/>
                  </a:cubicBezTo>
                  <a:cubicBezTo>
                    <a:pt x="72358" y="12212"/>
                    <a:pt x="75500" y="9492"/>
                    <a:pt x="78550" y="6852"/>
                  </a:cubicBezTo>
                  <a:cubicBezTo>
                    <a:pt x="81441" y="4344"/>
                    <a:pt x="84174" y="1980"/>
                    <a:pt x="89705" y="1980"/>
                  </a:cubicBezTo>
                  <a:cubicBezTo>
                    <a:pt x="95237" y="1980"/>
                    <a:pt x="97970" y="4344"/>
                    <a:pt x="100861" y="6852"/>
                  </a:cubicBezTo>
                  <a:cubicBezTo>
                    <a:pt x="102551" y="8317"/>
                    <a:pt x="104293" y="9822"/>
                    <a:pt x="106617" y="10878"/>
                  </a:cubicBezTo>
                  <a:cubicBezTo>
                    <a:pt x="107118" y="11129"/>
                    <a:pt x="107726" y="10905"/>
                    <a:pt x="107950" y="10390"/>
                  </a:cubicBezTo>
                  <a:cubicBezTo>
                    <a:pt x="108188" y="9875"/>
                    <a:pt x="107950" y="9281"/>
                    <a:pt x="107422" y="907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grpSp>
          <p:nvGrpSpPr>
            <p:cNvPr id="93" name="Google Shape;93;p16"/>
            <p:cNvGrpSpPr/>
            <p:nvPr/>
          </p:nvGrpSpPr>
          <p:grpSpPr>
            <a:xfrm>
              <a:off x="1708067" y="2929847"/>
              <a:ext cx="245610" cy="244891"/>
              <a:chOff x="1177442" y="2884512"/>
              <a:chExt cx="245610" cy="244891"/>
            </a:xfrm>
          </p:grpSpPr>
          <p:sp>
            <p:nvSpPr>
              <p:cNvPr id="94" name="Google Shape;94;p16"/>
              <p:cNvSpPr/>
              <p:nvPr/>
            </p:nvSpPr>
            <p:spPr>
              <a:xfrm>
                <a:off x="1177442" y="2884512"/>
                <a:ext cx="245610" cy="244891"/>
              </a:xfrm>
              <a:custGeom>
                <a:avLst/>
                <a:gdLst/>
                <a:ahLst/>
                <a:cxnLst/>
                <a:rect l="l" t="t" r="r" b="b"/>
                <a:pathLst>
                  <a:path w="4437" h="4424" extrusionOk="0">
                    <a:moveTo>
                      <a:pt x="2219" y="1"/>
                    </a:moveTo>
                    <a:cubicBezTo>
                      <a:pt x="991" y="1"/>
                      <a:pt x="1" y="991"/>
                      <a:pt x="1" y="2206"/>
                    </a:cubicBezTo>
                    <a:cubicBezTo>
                      <a:pt x="1" y="3433"/>
                      <a:pt x="991" y="4423"/>
                      <a:pt x="2219" y="4423"/>
                    </a:cubicBezTo>
                    <a:cubicBezTo>
                      <a:pt x="3447" y="4423"/>
                      <a:pt x="4437" y="3433"/>
                      <a:pt x="4437" y="2206"/>
                    </a:cubicBezTo>
                    <a:cubicBezTo>
                      <a:pt x="4437" y="991"/>
                      <a:pt x="3447" y="1"/>
                      <a:pt x="221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42863" dist="38100" dir="3300000" algn="bl" rotWithShape="0">
                  <a:schemeClr val="dk2">
                    <a:alpha val="34000"/>
                  </a:schemeClr>
                </a:outerShdw>
              </a:effectLst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sp>
            <p:nvSpPr>
              <p:cNvPr id="95" name="Google Shape;95;p16"/>
              <p:cNvSpPr/>
              <p:nvPr/>
            </p:nvSpPr>
            <p:spPr>
              <a:xfrm>
                <a:off x="1234458" y="2940809"/>
                <a:ext cx="131579" cy="131579"/>
              </a:xfrm>
              <a:custGeom>
                <a:avLst/>
                <a:gdLst/>
                <a:ahLst/>
                <a:cxnLst/>
                <a:rect l="l" t="t" r="r" b="b"/>
                <a:pathLst>
                  <a:path w="2377" h="2377" extrusionOk="0">
                    <a:moveTo>
                      <a:pt x="2377" y="1189"/>
                    </a:moveTo>
                    <a:cubicBezTo>
                      <a:pt x="2377" y="1849"/>
                      <a:pt x="1849" y="2377"/>
                      <a:pt x="1189" y="2377"/>
                    </a:cubicBezTo>
                    <a:cubicBezTo>
                      <a:pt x="529" y="2377"/>
                      <a:pt x="1" y="1849"/>
                      <a:pt x="1" y="1189"/>
                    </a:cubicBezTo>
                    <a:cubicBezTo>
                      <a:pt x="1" y="529"/>
                      <a:pt x="529" y="0"/>
                      <a:pt x="1189" y="0"/>
                    </a:cubicBezTo>
                    <a:cubicBezTo>
                      <a:pt x="1849" y="0"/>
                      <a:pt x="2377" y="529"/>
                      <a:pt x="2377" y="1189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</p:grpSp>
        <p:grpSp>
          <p:nvGrpSpPr>
            <p:cNvPr id="96" name="Google Shape;96;p16"/>
            <p:cNvGrpSpPr/>
            <p:nvPr/>
          </p:nvGrpSpPr>
          <p:grpSpPr>
            <a:xfrm>
              <a:off x="3551407" y="2363506"/>
              <a:ext cx="245610" cy="244891"/>
              <a:chOff x="3804994" y="2454571"/>
              <a:chExt cx="245610" cy="244891"/>
            </a:xfrm>
          </p:grpSpPr>
          <p:sp>
            <p:nvSpPr>
              <p:cNvPr id="97" name="Google Shape;97;p16"/>
              <p:cNvSpPr/>
              <p:nvPr/>
            </p:nvSpPr>
            <p:spPr>
              <a:xfrm>
                <a:off x="3804994" y="2454571"/>
                <a:ext cx="245610" cy="244891"/>
              </a:xfrm>
              <a:custGeom>
                <a:avLst/>
                <a:gdLst/>
                <a:ahLst/>
                <a:cxnLst/>
                <a:rect l="l" t="t" r="r" b="b"/>
                <a:pathLst>
                  <a:path w="4437" h="4424" extrusionOk="0">
                    <a:moveTo>
                      <a:pt x="2219" y="1"/>
                    </a:moveTo>
                    <a:cubicBezTo>
                      <a:pt x="991" y="1"/>
                      <a:pt x="1" y="991"/>
                      <a:pt x="1" y="2205"/>
                    </a:cubicBezTo>
                    <a:cubicBezTo>
                      <a:pt x="1" y="3433"/>
                      <a:pt x="991" y="4423"/>
                      <a:pt x="2219" y="4423"/>
                    </a:cubicBezTo>
                    <a:cubicBezTo>
                      <a:pt x="3433" y="4423"/>
                      <a:pt x="4437" y="3433"/>
                      <a:pt x="4437" y="2205"/>
                    </a:cubicBezTo>
                    <a:cubicBezTo>
                      <a:pt x="4437" y="991"/>
                      <a:pt x="3433" y="1"/>
                      <a:pt x="221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42863" dist="38100" dir="3300000" algn="bl" rotWithShape="0">
                  <a:schemeClr val="dk2">
                    <a:alpha val="34000"/>
                  </a:schemeClr>
                </a:outerShdw>
              </a:effectLst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98" name="Google Shape;98;p16"/>
              <p:cNvSpPr/>
              <p:nvPr/>
            </p:nvSpPr>
            <p:spPr>
              <a:xfrm>
                <a:off x="3862010" y="2510868"/>
                <a:ext cx="131579" cy="131579"/>
              </a:xfrm>
              <a:custGeom>
                <a:avLst/>
                <a:gdLst/>
                <a:ahLst/>
                <a:cxnLst/>
                <a:rect l="l" t="t" r="r" b="b"/>
                <a:pathLst>
                  <a:path w="2377" h="2377" extrusionOk="0">
                    <a:moveTo>
                      <a:pt x="2377" y="1188"/>
                    </a:moveTo>
                    <a:cubicBezTo>
                      <a:pt x="2377" y="1848"/>
                      <a:pt x="1849" y="2376"/>
                      <a:pt x="1189" y="2376"/>
                    </a:cubicBezTo>
                    <a:cubicBezTo>
                      <a:pt x="529" y="2376"/>
                      <a:pt x="1" y="1848"/>
                      <a:pt x="1" y="1188"/>
                    </a:cubicBezTo>
                    <a:cubicBezTo>
                      <a:pt x="1" y="528"/>
                      <a:pt x="529" y="0"/>
                      <a:pt x="1189" y="0"/>
                    </a:cubicBezTo>
                    <a:cubicBezTo>
                      <a:pt x="1849" y="0"/>
                      <a:pt x="2377" y="528"/>
                      <a:pt x="2377" y="118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99" name="Google Shape;99;p16"/>
            <p:cNvGrpSpPr/>
            <p:nvPr/>
          </p:nvGrpSpPr>
          <p:grpSpPr>
            <a:xfrm>
              <a:off x="5394746" y="2929847"/>
              <a:ext cx="244891" cy="244891"/>
              <a:chOff x="5112380" y="3020912"/>
              <a:chExt cx="244891" cy="244891"/>
            </a:xfrm>
          </p:grpSpPr>
          <p:sp>
            <p:nvSpPr>
              <p:cNvPr id="100" name="Google Shape;100;p16"/>
              <p:cNvSpPr/>
              <p:nvPr/>
            </p:nvSpPr>
            <p:spPr>
              <a:xfrm>
                <a:off x="5112380" y="3020912"/>
                <a:ext cx="244891" cy="244891"/>
              </a:xfrm>
              <a:custGeom>
                <a:avLst/>
                <a:gdLst/>
                <a:ahLst/>
                <a:cxnLst/>
                <a:rect l="l" t="t" r="r" b="b"/>
                <a:pathLst>
                  <a:path w="4424" h="4424" extrusionOk="0">
                    <a:moveTo>
                      <a:pt x="2218" y="1"/>
                    </a:moveTo>
                    <a:cubicBezTo>
                      <a:pt x="991" y="1"/>
                      <a:pt x="1" y="991"/>
                      <a:pt x="1" y="2206"/>
                    </a:cubicBezTo>
                    <a:cubicBezTo>
                      <a:pt x="1" y="3433"/>
                      <a:pt x="991" y="4423"/>
                      <a:pt x="2218" y="4423"/>
                    </a:cubicBezTo>
                    <a:cubicBezTo>
                      <a:pt x="3433" y="4423"/>
                      <a:pt x="4423" y="3433"/>
                      <a:pt x="4423" y="2206"/>
                    </a:cubicBezTo>
                    <a:cubicBezTo>
                      <a:pt x="4423" y="991"/>
                      <a:pt x="3433" y="1"/>
                      <a:pt x="2218" y="1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2863" dist="38100" dir="3300000" algn="bl" rotWithShape="0">
                  <a:schemeClr val="dk2">
                    <a:alpha val="34000"/>
                  </a:schemeClr>
                </a:outerShdw>
              </a:effectLst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sp>
            <p:nvSpPr>
              <p:cNvPr id="101" name="Google Shape;101;p16"/>
              <p:cNvSpPr/>
              <p:nvPr/>
            </p:nvSpPr>
            <p:spPr>
              <a:xfrm>
                <a:off x="5169396" y="3077209"/>
                <a:ext cx="130859" cy="131579"/>
              </a:xfrm>
              <a:custGeom>
                <a:avLst/>
                <a:gdLst/>
                <a:ahLst/>
                <a:cxnLst/>
                <a:rect l="l" t="t" r="r" b="b"/>
                <a:pathLst>
                  <a:path w="2364" h="2377" extrusionOk="0">
                    <a:moveTo>
                      <a:pt x="2363" y="1189"/>
                    </a:moveTo>
                    <a:cubicBezTo>
                      <a:pt x="2363" y="1849"/>
                      <a:pt x="1835" y="2377"/>
                      <a:pt x="1188" y="2377"/>
                    </a:cubicBezTo>
                    <a:cubicBezTo>
                      <a:pt x="528" y="2377"/>
                      <a:pt x="0" y="1849"/>
                      <a:pt x="0" y="1189"/>
                    </a:cubicBezTo>
                    <a:cubicBezTo>
                      <a:pt x="0" y="529"/>
                      <a:pt x="528" y="0"/>
                      <a:pt x="1188" y="0"/>
                    </a:cubicBezTo>
                    <a:cubicBezTo>
                      <a:pt x="1835" y="0"/>
                      <a:pt x="2363" y="529"/>
                      <a:pt x="2363" y="1189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</p:grpSp>
        <p:grpSp>
          <p:nvGrpSpPr>
            <p:cNvPr id="102" name="Google Shape;102;p16"/>
            <p:cNvGrpSpPr/>
            <p:nvPr/>
          </p:nvGrpSpPr>
          <p:grpSpPr>
            <a:xfrm>
              <a:off x="7237366" y="2363506"/>
              <a:ext cx="244835" cy="244891"/>
              <a:chOff x="7723466" y="2521821"/>
              <a:chExt cx="244835" cy="244891"/>
            </a:xfrm>
          </p:grpSpPr>
          <p:sp>
            <p:nvSpPr>
              <p:cNvPr id="103" name="Google Shape;103;p16"/>
              <p:cNvSpPr/>
              <p:nvPr/>
            </p:nvSpPr>
            <p:spPr>
              <a:xfrm>
                <a:off x="7723466" y="2521821"/>
                <a:ext cx="244835" cy="244891"/>
              </a:xfrm>
              <a:custGeom>
                <a:avLst/>
                <a:gdLst/>
                <a:ahLst/>
                <a:cxnLst/>
                <a:rect l="l" t="t" r="r" b="b"/>
                <a:pathLst>
                  <a:path w="4423" h="4424" extrusionOk="0">
                    <a:moveTo>
                      <a:pt x="2205" y="1"/>
                    </a:moveTo>
                    <a:cubicBezTo>
                      <a:pt x="990" y="1"/>
                      <a:pt x="0" y="991"/>
                      <a:pt x="0" y="2205"/>
                    </a:cubicBezTo>
                    <a:cubicBezTo>
                      <a:pt x="0" y="3433"/>
                      <a:pt x="990" y="4423"/>
                      <a:pt x="2205" y="4423"/>
                    </a:cubicBezTo>
                    <a:cubicBezTo>
                      <a:pt x="3433" y="4423"/>
                      <a:pt x="4423" y="3433"/>
                      <a:pt x="4423" y="2205"/>
                    </a:cubicBezTo>
                    <a:cubicBezTo>
                      <a:pt x="4423" y="991"/>
                      <a:pt x="3433" y="1"/>
                      <a:pt x="220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42863" dist="38100" dir="3300000" algn="bl" rotWithShape="0">
                  <a:schemeClr val="dk2">
                    <a:alpha val="34000"/>
                  </a:schemeClr>
                </a:outerShdw>
              </a:effectLst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104" name="Google Shape;104;p16"/>
              <p:cNvSpPr/>
              <p:nvPr/>
            </p:nvSpPr>
            <p:spPr>
              <a:xfrm>
                <a:off x="7780482" y="2578118"/>
                <a:ext cx="130859" cy="131579"/>
              </a:xfrm>
              <a:custGeom>
                <a:avLst/>
                <a:gdLst/>
                <a:ahLst/>
                <a:cxnLst/>
                <a:rect l="l" t="t" r="r" b="b"/>
                <a:pathLst>
                  <a:path w="2364" h="2377" extrusionOk="0">
                    <a:moveTo>
                      <a:pt x="2363" y="1188"/>
                    </a:moveTo>
                    <a:cubicBezTo>
                      <a:pt x="2363" y="1848"/>
                      <a:pt x="1835" y="2376"/>
                      <a:pt x="1175" y="2376"/>
                    </a:cubicBezTo>
                    <a:cubicBezTo>
                      <a:pt x="528" y="2376"/>
                      <a:pt x="0" y="1848"/>
                      <a:pt x="0" y="1188"/>
                    </a:cubicBezTo>
                    <a:cubicBezTo>
                      <a:pt x="0" y="528"/>
                      <a:pt x="528" y="0"/>
                      <a:pt x="1175" y="0"/>
                    </a:cubicBezTo>
                    <a:cubicBezTo>
                      <a:pt x="1835" y="0"/>
                      <a:pt x="2363" y="528"/>
                      <a:pt x="2363" y="118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</p:grpSp>
      </p:grpSp>
      <p:grpSp>
        <p:nvGrpSpPr>
          <p:cNvPr id="105" name="Google Shape;105;p16"/>
          <p:cNvGrpSpPr/>
          <p:nvPr/>
        </p:nvGrpSpPr>
        <p:grpSpPr>
          <a:xfrm>
            <a:off x="4491087" y="3762317"/>
            <a:ext cx="1417827" cy="1417752"/>
            <a:chOff x="3142726" y="2821738"/>
            <a:chExt cx="1063370" cy="1063314"/>
          </a:xfrm>
        </p:grpSpPr>
        <p:sp>
          <p:nvSpPr>
            <p:cNvPr id="106" name="Google Shape;106;p16"/>
            <p:cNvSpPr/>
            <p:nvPr/>
          </p:nvSpPr>
          <p:spPr>
            <a:xfrm>
              <a:off x="3142726" y="2821738"/>
              <a:ext cx="1063370" cy="1063314"/>
            </a:xfrm>
            <a:custGeom>
              <a:avLst/>
              <a:gdLst/>
              <a:ahLst/>
              <a:cxnLst/>
              <a:rect l="l" t="t" r="r" b="b"/>
              <a:pathLst>
                <a:path w="19210" h="19209" extrusionOk="0">
                  <a:moveTo>
                    <a:pt x="19209" y="9598"/>
                  </a:moveTo>
                  <a:cubicBezTo>
                    <a:pt x="19209" y="14905"/>
                    <a:pt x="14919" y="19209"/>
                    <a:pt x="9612" y="19209"/>
                  </a:cubicBezTo>
                  <a:cubicBezTo>
                    <a:pt x="4305" y="19209"/>
                    <a:pt x="1" y="14905"/>
                    <a:pt x="1" y="9598"/>
                  </a:cubicBezTo>
                  <a:cubicBezTo>
                    <a:pt x="1" y="4291"/>
                    <a:pt x="4305" y="0"/>
                    <a:pt x="9612" y="0"/>
                  </a:cubicBezTo>
                  <a:cubicBezTo>
                    <a:pt x="14919" y="0"/>
                    <a:pt x="19209" y="4291"/>
                    <a:pt x="19209" y="959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>
              <a:outerShdw blurRad="42863" dist="38100" dir="3300000" algn="bl" rotWithShape="0">
                <a:schemeClr val="dk2">
                  <a:alpha val="34000"/>
                </a:scheme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107" name="Google Shape;107;p16"/>
            <p:cNvSpPr/>
            <p:nvPr/>
          </p:nvSpPr>
          <p:spPr>
            <a:xfrm>
              <a:off x="3216570" y="2894807"/>
              <a:ext cx="916457" cy="916457"/>
            </a:xfrm>
            <a:custGeom>
              <a:avLst/>
              <a:gdLst/>
              <a:ahLst/>
              <a:cxnLst/>
              <a:rect l="l" t="t" r="r" b="b"/>
              <a:pathLst>
                <a:path w="16556" h="16556" extrusionOk="0">
                  <a:moveTo>
                    <a:pt x="8278" y="0"/>
                  </a:moveTo>
                  <a:cubicBezTo>
                    <a:pt x="3710" y="0"/>
                    <a:pt x="0" y="3710"/>
                    <a:pt x="0" y="8278"/>
                  </a:cubicBezTo>
                  <a:cubicBezTo>
                    <a:pt x="0" y="12845"/>
                    <a:pt x="3710" y="16555"/>
                    <a:pt x="8278" y="16555"/>
                  </a:cubicBezTo>
                  <a:cubicBezTo>
                    <a:pt x="12846" y="16555"/>
                    <a:pt x="16555" y="12845"/>
                    <a:pt x="16555" y="8278"/>
                  </a:cubicBezTo>
                  <a:cubicBezTo>
                    <a:pt x="16555" y="3710"/>
                    <a:pt x="12846" y="0"/>
                    <a:pt x="82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</p:grpSp>
      <p:sp>
        <p:nvSpPr>
          <p:cNvPr id="49" name="Google Shape;94;p16">
            <a:extLst>
              <a:ext uri="{FF2B5EF4-FFF2-40B4-BE49-F238E27FC236}">
                <a16:creationId xmlns:a16="http://schemas.microsoft.com/office/drawing/2014/main" id="{62B8A30A-D2ED-46E2-BC99-45D9709F0335}"/>
              </a:ext>
            </a:extLst>
          </p:cNvPr>
          <p:cNvSpPr/>
          <p:nvPr/>
        </p:nvSpPr>
        <p:spPr>
          <a:xfrm>
            <a:off x="774218" y="3229523"/>
            <a:ext cx="327480" cy="326521"/>
          </a:xfrm>
          <a:custGeom>
            <a:avLst/>
            <a:gdLst/>
            <a:ahLst/>
            <a:cxnLst/>
            <a:rect l="l" t="t" r="r" b="b"/>
            <a:pathLst>
              <a:path w="4437" h="4424" extrusionOk="0">
                <a:moveTo>
                  <a:pt x="2219" y="1"/>
                </a:moveTo>
                <a:cubicBezTo>
                  <a:pt x="991" y="1"/>
                  <a:pt x="1" y="991"/>
                  <a:pt x="1" y="2206"/>
                </a:cubicBezTo>
                <a:cubicBezTo>
                  <a:pt x="1" y="3433"/>
                  <a:pt x="991" y="4423"/>
                  <a:pt x="2219" y="4423"/>
                </a:cubicBezTo>
                <a:cubicBezTo>
                  <a:pt x="3447" y="4423"/>
                  <a:pt x="4437" y="3433"/>
                  <a:pt x="4437" y="2206"/>
                </a:cubicBezTo>
                <a:cubicBezTo>
                  <a:pt x="4437" y="991"/>
                  <a:pt x="3447" y="1"/>
                  <a:pt x="221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2863" dist="38100" dir="3300000" algn="bl" rotWithShape="0">
              <a:schemeClr val="dk2">
                <a:alpha val="34000"/>
              </a:scheme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50" name="Google Shape;95;p16">
            <a:extLst>
              <a:ext uri="{FF2B5EF4-FFF2-40B4-BE49-F238E27FC236}">
                <a16:creationId xmlns:a16="http://schemas.microsoft.com/office/drawing/2014/main" id="{3E89412B-9994-40E3-9912-04B508273E5D}"/>
              </a:ext>
            </a:extLst>
          </p:cNvPr>
          <p:cNvSpPr/>
          <p:nvPr/>
        </p:nvSpPr>
        <p:spPr>
          <a:xfrm>
            <a:off x="850239" y="3304586"/>
            <a:ext cx="175439" cy="175438"/>
          </a:xfrm>
          <a:custGeom>
            <a:avLst/>
            <a:gdLst/>
            <a:ahLst/>
            <a:cxnLst/>
            <a:rect l="l" t="t" r="r" b="b"/>
            <a:pathLst>
              <a:path w="2377" h="2377" extrusionOk="0">
                <a:moveTo>
                  <a:pt x="2377" y="1189"/>
                </a:moveTo>
                <a:cubicBezTo>
                  <a:pt x="2377" y="1849"/>
                  <a:pt x="1849" y="2377"/>
                  <a:pt x="1189" y="2377"/>
                </a:cubicBezTo>
                <a:cubicBezTo>
                  <a:pt x="529" y="2377"/>
                  <a:pt x="1" y="1849"/>
                  <a:pt x="1" y="1189"/>
                </a:cubicBezTo>
                <a:cubicBezTo>
                  <a:pt x="1" y="529"/>
                  <a:pt x="529" y="0"/>
                  <a:pt x="1189" y="0"/>
                </a:cubicBezTo>
                <a:cubicBezTo>
                  <a:pt x="1849" y="0"/>
                  <a:pt x="2377" y="529"/>
                  <a:pt x="2377" y="1189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pic>
        <p:nvPicPr>
          <p:cNvPr id="116" name="Picture Placeholder 7" descr="Document outline">
            <a:extLst>
              <a:ext uri="{FF2B5EF4-FFF2-40B4-BE49-F238E27FC236}">
                <a16:creationId xmlns:a16="http://schemas.microsoft.com/office/drawing/2014/main" id="{930D70CB-CC0E-4D35-BB7D-2713413339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81634" y="2525101"/>
            <a:ext cx="756000" cy="756000"/>
          </a:xfrm>
          <a:prstGeom prst="rect">
            <a:avLst/>
          </a:prstGeom>
        </p:spPr>
      </p:pic>
      <p:sp>
        <p:nvSpPr>
          <p:cNvPr id="124" name="Google Shape;78;p16">
            <a:extLst>
              <a:ext uri="{FF2B5EF4-FFF2-40B4-BE49-F238E27FC236}">
                <a16:creationId xmlns:a16="http://schemas.microsoft.com/office/drawing/2014/main" id="{541E759D-3968-4EB3-9D1E-D5D050624B19}"/>
              </a:ext>
            </a:extLst>
          </p:cNvPr>
          <p:cNvSpPr txBox="1"/>
          <p:nvPr/>
        </p:nvSpPr>
        <p:spPr>
          <a:xfrm>
            <a:off x="4023949" y="1691331"/>
            <a:ext cx="2365200" cy="2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26. </a:t>
            </a:r>
            <a:r>
              <a:rPr lang="da-D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n</a:t>
            </a:r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ovember</a:t>
            </a:r>
            <a:b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</a:br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rundtur på Aarhus havn</a:t>
            </a:r>
            <a:endParaRPr sz="1200" b="1" dirty="0">
              <a:solidFill>
                <a:schemeClr val="tx1">
                  <a:lumMod val="75000"/>
                  <a:lumOff val="25000"/>
                </a:schemeClr>
              </a:solidFill>
              <a:latin typeface="Avenir Next LT Pro" panose="020B0504020202020204" pitchFamily="34" charset="0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34D9C235-E393-4EED-9F19-6EA616BA0B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sz="5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øder</a:t>
            </a:r>
          </a:p>
        </p:txBody>
      </p:sp>
      <p:sp>
        <p:nvSpPr>
          <p:cNvPr id="128" name="Google Shape;78;p16">
            <a:extLst>
              <a:ext uri="{FF2B5EF4-FFF2-40B4-BE49-F238E27FC236}">
                <a16:creationId xmlns:a16="http://schemas.microsoft.com/office/drawing/2014/main" id="{DB07F5DC-3678-48AC-AF4B-E93998031994}"/>
              </a:ext>
            </a:extLst>
          </p:cNvPr>
          <p:cNvSpPr txBox="1"/>
          <p:nvPr/>
        </p:nvSpPr>
        <p:spPr>
          <a:xfrm>
            <a:off x="-66786" y="2028214"/>
            <a:ext cx="2150384" cy="2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26. oktober</a:t>
            </a:r>
            <a:b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</a:br>
            <a:r>
              <a:rPr lang="e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Fira Sans Extra Condensed Medium"/>
                <a:cs typeface="Fira Sans Extra Condensed Medium"/>
                <a:sym typeface="Fira Sans Extra Condensed Medium"/>
              </a:rPr>
              <a:t>opstartsmøde</a:t>
            </a:r>
            <a:endParaRPr sz="1200" b="1" dirty="0">
              <a:solidFill>
                <a:schemeClr val="tx1">
                  <a:lumMod val="75000"/>
                  <a:lumOff val="25000"/>
                </a:schemeClr>
              </a:solidFill>
              <a:latin typeface="Avenir Next LT Pro" panose="020B0504020202020204" pitchFamily="34" charset="0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129" name="Google Shape;79;p16">
            <a:extLst>
              <a:ext uri="{FF2B5EF4-FFF2-40B4-BE49-F238E27FC236}">
                <a16:creationId xmlns:a16="http://schemas.microsoft.com/office/drawing/2014/main" id="{124FA7D8-9699-4ABA-BF22-1D32086F19D9}"/>
              </a:ext>
            </a:extLst>
          </p:cNvPr>
          <p:cNvSpPr txBox="1"/>
          <p:nvPr/>
        </p:nvSpPr>
        <p:spPr>
          <a:xfrm>
            <a:off x="-68919" y="2306648"/>
            <a:ext cx="2150384" cy="7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en" sz="1100" dirty="0">
                <a:latin typeface="Avenir Next LT Pro" panose="020B0504020202020204" pitchFamily="34" charset="0"/>
                <a:ea typeface="Fira Sans Extra Condensed"/>
                <a:cs typeface="Fira Sans Extra Condensed"/>
                <a:sym typeface="Fira Sans Extra Condensed"/>
              </a:rPr>
              <a:t>Introduktion til  borgerpanelets deltagere, opgaver og kommende aktiviteter. </a:t>
            </a:r>
            <a:endParaRPr sz="1100" dirty="0">
              <a:latin typeface="Avenir Next LT Pro" panose="020B050402020202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pic>
        <p:nvPicPr>
          <p:cNvPr id="130" name="Picture Placeholder 9" descr="Sail Boat (Like Pirate) outline">
            <a:extLst>
              <a:ext uri="{FF2B5EF4-FFF2-40B4-BE49-F238E27FC236}">
                <a16:creationId xmlns:a16="http://schemas.microsoft.com/office/drawing/2014/main" id="{54B785FA-9E86-49AA-88B7-810B296159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9492" y="4025689"/>
            <a:ext cx="834508" cy="834508"/>
          </a:xfrm>
          <a:prstGeom prst="rect">
            <a:avLst/>
          </a:prstGeom>
        </p:spPr>
      </p:pic>
      <p:pic>
        <p:nvPicPr>
          <p:cNvPr id="131" name="Picture Placeholder 15" descr="Meeting outline">
            <a:extLst>
              <a:ext uri="{FF2B5EF4-FFF2-40B4-BE49-F238E27FC236}">
                <a16:creationId xmlns:a16="http://schemas.microsoft.com/office/drawing/2014/main" id="{F0BAF013-5D1E-4808-BC40-97226E64C5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11477" y="2458789"/>
            <a:ext cx="828766" cy="828766"/>
          </a:xfrm>
          <a:prstGeom prst="rect">
            <a:avLst/>
          </a:prstGeom>
        </p:spPr>
      </p:pic>
      <p:pic>
        <p:nvPicPr>
          <p:cNvPr id="133" name="Picture Placeholder 21" descr="Teacher outline">
            <a:extLst>
              <a:ext uri="{FF2B5EF4-FFF2-40B4-BE49-F238E27FC236}">
                <a16:creationId xmlns:a16="http://schemas.microsoft.com/office/drawing/2014/main" id="{5ADB6AEA-2A3D-4E08-945A-B2F826A8E6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50740" y="4083052"/>
            <a:ext cx="900955" cy="900955"/>
          </a:xfrm>
          <a:prstGeom prst="rect">
            <a:avLst/>
          </a:prstGeom>
        </p:spPr>
      </p:pic>
      <p:sp>
        <p:nvSpPr>
          <p:cNvPr id="135" name="Slide Number Placeholder 5">
            <a:extLst>
              <a:ext uri="{FF2B5EF4-FFF2-40B4-BE49-F238E27FC236}">
                <a16:creationId xmlns:a16="http://schemas.microsoft.com/office/drawing/2014/main" id="{F89EEF95-39DF-40EA-8AE2-EC196D3EB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06800" y="6476400"/>
            <a:ext cx="626400" cy="108000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46461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980FB0-E317-41A9-9091-0EC14A18A87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4ED94317-4A63-4192-97A5-DC8AE38CFD0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3AA811B-2EBD-4900-905E-5BE206449611}" type="slidenum">
              <a:rPr lang="en-GB" smtClean="0"/>
              <a:pPr>
                <a:spcAft>
                  <a:spcPts val="600"/>
                </a:spcAft>
              </a:pPr>
              <a:t>3</a:t>
            </a:fld>
            <a:endParaRPr lang="da-DK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3C49F45-6C25-4D4D-B641-5D6DDC46A1DA}"/>
              </a:ext>
            </a:extLst>
          </p:cNvPr>
          <p:cNvSpPr txBox="1">
            <a:spLocks/>
          </p:cNvSpPr>
          <p:nvPr/>
        </p:nvSpPr>
        <p:spPr>
          <a:xfrm>
            <a:off x="533012" y="503902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4400" dirty="0">
                <a:solidFill>
                  <a:schemeClr val="bg2"/>
                </a:solidFill>
              </a:rPr>
              <a:t>NÆSTE MØDE I BORGERPANELET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C6F8E1C9-44B5-453B-B69E-FE2DC3E4FA8B}"/>
              </a:ext>
            </a:extLst>
          </p:cNvPr>
          <p:cNvSpPr txBox="1">
            <a:spLocks/>
          </p:cNvSpPr>
          <p:nvPr/>
        </p:nvSpPr>
        <p:spPr>
          <a:xfrm>
            <a:off x="929610" y="1652691"/>
            <a:ext cx="10384386" cy="61584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noFill/>
          </a:ln>
        </p:spPr>
        <p:txBody>
          <a:bodyPr vert="horz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Zetta Sans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6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Zetta Sans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6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Zetta Sans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6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Zetta Sans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6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Zetta Sans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>
                  <a:lumMod val="65000"/>
                  <a:lumOff val="35000"/>
                </a:srgbClr>
              </a:buClr>
            </a:pPr>
            <a:r>
              <a:rPr lang="da-DK" sz="1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RSDAG D. 10. JANUAR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55DFD992-CC44-45C8-94AA-E47F81FD34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132810"/>
              </p:ext>
            </p:extLst>
          </p:nvPr>
        </p:nvGraphicFramePr>
        <p:xfrm>
          <a:off x="929612" y="2270222"/>
          <a:ext cx="10384382" cy="33847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843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57129">
                <a:tc>
                  <a:txBody>
                    <a:bodyPr/>
                    <a:lstStyle/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vor: </a:t>
                      </a: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arna Palæet, Aarhus </a:t>
                      </a:r>
                      <a:br>
                        <a:rPr kumimoji="0" lang="da-DK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kumimoji="0" lang="da-DK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da-DK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vornår</a:t>
                      </a: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0. januar kl. 18.30 – 21.30</a:t>
                      </a:r>
                    </a:p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gram:</a:t>
                      </a: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Indledning: </a:t>
                      </a: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oprids og overblik over forløbet (oplægsholdere, aktiviteter mv.)</a:t>
                      </a: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Gruppesession 1: </a:t>
                      </a: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Hvad blev du særligt optaget af i forløbet?</a:t>
                      </a: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Gruppesession 2: </a:t>
                      </a:r>
                      <a:r>
                        <a:rPr lang="da-DK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Hvad ser du som de væsentligste fordele og ulemper ved den ansøgte havneudvidelse? </a:t>
                      </a: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Gruppesession 3</a:t>
                      </a:r>
                      <a:r>
                        <a:rPr lang="da-DK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: Hvad er dit råd til politikerne? </a:t>
                      </a: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Herefter tid til at arbejde med brevet og afrunding og forberedelse af mødet med byrådet. </a:t>
                      </a:r>
                      <a:b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endParaRPr kumimoji="0" lang="da-DK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67978" marR="0" marT="96022" marB="9602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9525">
                <a:tc>
                  <a:txBody>
                    <a:bodyPr/>
                    <a:lstStyle/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da-DK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67978" marR="0" marT="96022" marB="9602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C455ECA1-53A5-49DC-8CF8-05F8B060C818}"/>
              </a:ext>
            </a:extLst>
          </p:cNvPr>
          <p:cNvSpPr txBox="1">
            <a:spLocks/>
          </p:cNvSpPr>
          <p:nvPr/>
        </p:nvSpPr>
        <p:spPr>
          <a:xfrm>
            <a:off x="11359200" y="6628800"/>
            <a:ext cx="626400" cy="1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AA811B-2EBD-4900-905E-5BE206449611}" type="slidenum">
              <a:rPr lang="da-DK" sz="1000" smtClean="0">
                <a:solidFill>
                  <a:schemeClr val="accent2"/>
                </a:solidFill>
                <a:latin typeface="+mj-lt"/>
              </a:rPr>
              <a:pPr algn="r"/>
              <a:t>3</a:t>
            </a:fld>
            <a:endParaRPr lang="da-DK" sz="1000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65982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1B529D-E3F2-4A62-B89C-F32B2BB6296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23AA811B-2EBD-4900-905E-5BE206449611}" type="slidenum">
              <a:rPr lang="da-DK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EC2258-D9C6-4ABA-95C3-4BD623FF80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9572" y="6443330"/>
            <a:ext cx="1596391" cy="199005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6937170F-40DA-FDA0-7572-B0D3A70D4C2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>
            <a:normAutofit fontScale="90000"/>
          </a:bodyPr>
          <a:lstStyle/>
          <a:p>
            <a:r>
              <a:rPr lang="da-DK" dirty="0">
                <a:solidFill>
                  <a:srgbClr val="FFFFFF"/>
                </a:solidFill>
              </a:rPr>
              <a:t>TAK FOR I AFTE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0" name="Billede 7">
            <a:extLst>
              <a:ext uri="{FF2B5EF4-FFF2-40B4-BE49-F238E27FC236}">
                <a16:creationId xmlns:a16="http://schemas.microsoft.com/office/drawing/2014/main" id="{8C20E3E2-CE1C-4980-80E9-06244C72071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5431" y="6309864"/>
            <a:ext cx="919992" cy="350835"/>
          </a:xfrm>
          <a:prstGeom prst="rect">
            <a:avLst/>
          </a:prstGeom>
        </p:spPr>
      </p:pic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83398E1-9C5C-4E39-89B8-E47B1923726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" r="17"/>
          <a:stretch/>
        </p:blipFill>
        <p:spPr>
          <a:xfrm>
            <a:off x="-1200" y="0"/>
            <a:ext cx="12193200" cy="6861600"/>
          </a:xfrm>
        </p:spPr>
      </p:pic>
    </p:spTree>
    <p:extLst>
      <p:ext uri="{BB962C8B-B14F-4D97-AF65-F5344CB8AC3E}">
        <p14:creationId xmlns:p14="http://schemas.microsoft.com/office/powerpoint/2010/main" val="1677667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aseTemplate 16-9 UK.potx" id="{99839C17-9291-4D6B-9A70-B923972FEA85}" vid="{497495C2-62DF-4425-B50B-9A17880EC5A0}"/>
    </a:ext>
  </a:extLst>
</a:theme>
</file>

<file path=ppt/theme/theme2.xml><?xml version="1.0" encoding="utf-8"?>
<a:theme xmlns:a="http://schemas.openxmlformats.org/drawingml/2006/main" name="Indholdsskabelon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rugerdefineret font">
      <a:majorFont>
        <a:latin typeface="Titillium Web SemiBold"/>
        <a:ea typeface=""/>
        <a:cs typeface=""/>
      </a:majorFont>
      <a:minorFont>
        <a:latin typeface="Titillium We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rhus Havn_ppt_template_2022" id="{6FD05B4C-B2DD-4CD1-8A86-DA4BEADBAB33}" vid="{EA03114D-2BF8-4C8C-BE76-41A0821EE362}"/>
    </a:ext>
  </a:extLst>
</a:theme>
</file>

<file path=ppt/theme/theme3.xml><?xml version="1.0" encoding="utf-8"?>
<a:theme xmlns:a="http://schemas.openxmlformats.org/drawingml/2006/main" name="Rødt 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rugerdefineret font">
      <a:majorFont>
        <a:latin typeface="Titillium Web SemiBold"/>
        <a:ea typeface=""/>
        <a:cs typeface=""/>
      </a:majorFont>
      <a:minorFont>
        <a:latin typeface="Titillium We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rhus Havn_ppt_template_2022" id="{6FD05B4C-B2DD-4CD1-8A86-DA4BEADBAB33}" vid="{29082A40-6534-4E91-90F4-A67095F01356}"/>
    </a:ext>
  </a:extLst>
</a:theme>
</file>

<file path=ppt/theme/theme4.xml><?xml version="1.0" encoding="utf-8"?>
<a:theme xmlns:a="http://schemas.openxmlformats.org/drawingml/2006/main" name="Grønt 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rugerdefineret font">
      <a:majorFont>
        <a:latin typeface="Titillium Web SemiBold"/>
        <a:ea typeface=""/>
        <a:cs typeface=""/>
      </a:majorFont>
      <a:minorFont>
        <a:latin typeface="Titillium We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rhus Havn_ppt_template_2022" id="{6FD05B4C-B2DD-4CD1-8A86-DA4BEADBAB33}" vid="{54EEE439-C3D9-4CFD-9566-21A12F80ECDE}"/>
    </a:ext>
  </a:extLst>
</a:theme>
</file>

<file path=ppt/theme/theme5.xml><?xml version="1.0" encoding="utf-8"?>
<a:theme xmlns:a="http://schemas.openxmlformats.org/drawingml/2006/main" name="Blåt 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rugerdefineret font">
      <a:majorFont>
        <a:latin typeface="Titillium Web SemiBold"/>
        <a:ea typeface=""/>
        <a:cs typeface=""/>
      </a:majorFont>
      <a:minorFont>
        <a:latin typeface="Titillium We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rhus Havn_ppt_template_2022" id="{6FD05B4C-B2DD-4CD1-8A86-DA4BEADBAB33}" vid="{D0611AFB-D26E-4826-9017-F3EED9CC9E41}"/>
    </a:ext>
  </a:extLst>
</a:theme>
</file>

<file path=ppt/theme/theme6.xml><?xml version="1.0" encoding="utf-8"?>
<a:theme xmlns:a="http://schemas.openxmlformats.org/drawingml/2006/main" name="1_Indholdsskabelon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rugerdefineret font">
      <a:majorFont>
        <a:latin typeface="Titillium Web SemiBold"/>
        <a:ea typeface=""/>
        <a:cs typeface=""/>
      </a:majorFont>
      <a:minorFont>
        <a:latin typeface="Titillium We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B5689A6251E94B81A8ACD3A2D9BB7C" ma:contentTypeVersion="4" ma:contentTypeDescription="Create a new document." ma:contentTypeScope="" ma:versionID="3efb62514e2f64da8fffc861e41a935b">
  <xsd:schema xmlns:xsd="http://www.w3.org/2001/XMLSchema" xmlns:xs="http://www.w3.org/2001/XMLSchema" xmlns:p="http://schemas.microsoft.com/office/2006/metadata/properties" xmlns:ns2="01f97297-764f-44c1-b6a1-edbf75d9a144" xmlns:ns3="4194f6aa-d21b-467b-9995-dec8f47a8df8" targetNamespace="http://schemas.microsoft.com/office/2006/metadata/properties" ma:root="true" ma:fieldsID="c94916b9f9ea42fc53cd21cc6fb8a07e" ns2:_="" ns3:_="">
    <xsd:import namespace="01f97297-764f-44c1-b6a1-edbf75d9a144"/>
    <xsd:import namespace="4194f6aa-d21b-467b-9995-dec8f47a8d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97297-764f-44c1-b6a1-edbf75d9a1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94f6aa-d21b-467b-9995-dec8f47a8df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0605F89-9ABB-4B3A-BB2E-6A9AE48E40C6}">
  <ds:schemaRefs>
    <ds:schemaRef ds:uri="http://schemas.openxmlformats.org/package/2006/metadata/core-properties"/>
    <ds:schemaRef ds:uri="http://purl.org/dc/dcmitype/"/>
    <ds:schemaRef ds:uri="http://purl.org/dc/terms/"/>
    <ds:schemaRef ds:uri="4194f6aa-d21b-467b-9995-dec8f47a8df8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01f97297-764f-44c1-b6a1-edbf75d9a14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C271470-22D5-4778-B999-AB1C42F868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97297-764f-44c1-b6a1-edbf75d9a144"/>
    <ds:schemaRef ds:uri="4194f6aa-d21b-467b-9995-dec8f47a8d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6415E1-FCE8-4DE5-BA1F-8C98457DBF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0</TotalTime>
  <Words>278</Words>
  <Application>Microsoft Office PowerPoint</Application>
  <PresentationFormat>Widescreen</PresentationFormat>
  <Paragraphs>31</Paragraphs>
  <Slides>4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17" baseType="lpstr">
      <vt:lpstr>Arial</vt:lpstr>
      <vt:lpstr>Avenir Next LT Pro</vt:lpstr>
      <vt:lpstr>Fira Sans Extra Condensed Medium</vt:lpstr>
      <vt:lpstr>Titillium Web</vt:lpstr>
      <vt:lpstr>Titillium Web SemiBold</vt:lpstr>
      <vt:lpstr>Verdana</vt:lpstr>
      <vt:lpstr>Blank</vt:lpstr>
      <vt:lpstr>Indholdsskabeloner</vt:lpstr>
      <vt:lpstr>Rødt tema</vt:lpstr>
      <vt:lpstr>Grønt tema</vt:lpstr>
      <vt:lpstr>Blåt tema</vt:lpstr>
      <vt:lpstr>1_Indholdsskabeloner</vt:lpstr>
      <vt:lpstr>think-cell Slide</vt:lpstr>
      <vt:lpstr>NÆSTE MØDE I BORGERPANELET</vt:lpstr>
      <vt:lpstr>Møder</vt:lpstr>
      <vt:lpstr>PowerPoint-præsentation</vt:lpstr>
      <vt:lpstr>TAK FOR I AF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 TIL BORGERPANELET</dc:title>
  <dc:creator/>
  <cp:lastModifiedBy/>
  <cp:revision>14</cp:revision>
  <dcterms:created xsi:type="dcterms:W3CDTF">2021-09-09T11:09:59Z</dcterms:created>
  <dcterms:modified xsi:type="dcterms:W3CDTF">2023-01-13T10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ramboll</vt:lpwstr>
  </property>
  <property fmtid="{D5CDD505-2E9C-101B-9397-08002B2CF9AE}" pid="3" name="TemplateId">
    <vt:lpwstr>637665318383684629</vt:lpwstr>
  </property>
  <property fmtid="{D5CDD505-2E9C-101B-9397-08002B2CF9AE}" pid="4" name="UserProfileId">
    <vt:lpwstr>637660441346460046</vt:lpwstr>
  </property>
  <property fmtid="{D5CDD505-2E9C-101B-9397-08002B2CF9AE}" pid="5" name="ContentTypeId">
    <vt:lpwstr>0x010100FEB5689A6251E94B81A8ACD3A2D9BB7C</vt:lpwstr>
  </property>
</Properties>
</file>